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5764" r:id="rId6"/>
    <p:sldMasterId id="2147485766" r:id="rId7"/>
    <p:sldMasterId id="2147485771" r:id="rId8"/>
    <p:sldMasterId id="2147485716" r:id="rId9"/>
  </p:sldMasterIdLst>
  <p:notesMasterIdLst>
    <p:notesMasterId r:id="rId19"/>
  </p:notesMasterIdLst>
  <p:sldIdLst>
    <p:sldId id="282" r:id="rId10"/>
    <p:sldId id="496" r:id="rId11"/>
    <p:sldId id="503" r:id="rId12"/>
    <p:sldId id="499" r:id="rId13"/>
    <p:sldId id="497" r:id="rId14"/>
    <p:sldId id="500" r:id="rId15"/>
    <p:sldId id="498" r:id="rId16"/>
    <p:sldId id="501" r:id="rId17"/>
    <p:sldId id="502" r:id="rId18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Oswald" panose="00000500000000000000" pitchFamily="2" charset="0"/>
      <p:regular r:id="rId24"/>
      <p:bold r:id="rId25"/>
    </p:embeddedFont>
    <p:embeddedFont>
      <p:font typeface="Oswald Regular" panose="00000500000000000000" pitchFamily="2" charset="0"/>
      <p:regular r:id="rId26"/>
      <p:bold r:id="rId27"/>
      <p:italic r:id="rId28"/>
      <p:boldItalic r:id="rId29"/>
    </p:embeddedFont>
    <p:embeddedFont>
      <p:font typeface="Roboto" panose="02000000000000000000" pitchFamily="2" charset="0"/>
      <p:regular r:id="rId30"/>
      <p:bold r:id="rId31"/>
      <p:italic r:id="rId32"/>
      <p:boldItalic r:id="rId33"/>
    </p:embeddedFont>
    <p:embeddedFont>
      <p:font typeface="Roboto Condensed Light" panose="02000000000000000000" pitchFamily="2" charset="0"/>
      <p:regular r:id="rId34"/>
      <p:bold r:id="rId35"/>
      <p:italic r:id="rId36"/>
      <p:boldItalic r:id="rId37"/>
    </p:embeddedFont>
    <p:embeddedFont>
      <p:font typeface="Roboto Light" panose="02000000000000000000" pitchFamily="2" charset="0"/>
      <p:regular r:id="rId38"/>
      <p:italic r:id="rId39"/>
    </p:embeddedFont>
  </p:embeddedFontLst>
  <p:custDataLst>
    <p:tags r:id="rId40"/>
  </p:custDataLst>
  <p:defaultTextStyle>
    <a:defPPr>
      <a:defRPr lang="en-US"/>
    </a:defPPr>
    <a:lvl1pPr marL="0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2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54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05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56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08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60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10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52" userDrawn="1">
          <p15:clr>
            <a:srgbClr val="A4A3A4"/>
          </p15:clr>
        </p15:guide>
        <p15:guide id="2" pos="3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298AE27-7F17-50E6-BC38-F406E6D74CA1}" name="Lucie Hys" initials="LH" userId="S::lucie.hys@tpx.com::c1a46e7c-8931-4f14-a9db-dfb7cfa86e0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FC055"/>
    <a:srgbClr val="007AC3"/>
    <a:srgbClr val="54596A"/>
    <a:srgbClr val="595959"/>
    <a:srgbClr val="045E94"/>
    <a:srgbClr val="02A0DC"/>
    <a:srgbClr val="017AC3"/>
    <a:srgbClr val="2B8DC8"/>
    <a:srgbClr val="21C0D4"/>
    <a:srgbClr val="03A0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16B9C2-E550-493F-BCE5-E92D208F9BDD}" v="2" dt="2023-04-20T17:21:29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04"/>
    <p:restoredTop sz="95784"/>
  </p:normalViewPr>
  <p:slideViewPr>
    <p:cSldViewPr snapToGrid="0">
      <p:cViewPr varScale="1">
        <p:scale>
          <a:sx n="109" d="100"/>
          <a:sy n="109" d="100"/>
        </p:scale>
        <p:origin x="546" y="108"/>
      </p:cViewPr>
      <p:guideLst>
        <p:guide orient="horz" pos="1152"/>
        <p:guide pos="3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font" Target="fonts/font10.fntdata"/><Relationship Id="rId20" Type="http://schemas.openxmlformats.org/officeDocument/2006/relationships/font" Target="fonts/font1.fntdata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2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tags" Target="tags/tag1.xml"/><Relationship Id="rId45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4" Type="http://schemas.openxmlformats.org/officeDocument/2006/relationships/tableStyles" Target="tableStyles.xml"/><Relationship Id="rId43" Type="http://schemas.openxmlformats.org/officeDocument/2006/relationships/theme" Target="theme/theme1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5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8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46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221A-7E7B-435B-8CA8-22B91C1C819C}" type="datetimeFigureOut">
              <a:rPr lang="en-US" smtClean="0"/>
              <a:t>4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455F90-0415-458F-8E5F-559183BAA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3095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2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54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05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56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8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0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0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203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061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019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5232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algn="r"/>
            <a:r>
              <a:rPr lang="en-US" sz="1000">
                <a:solidFill>
                  <a:srgbClr val="DC291E"/>
                </a:solidFill>
                <a:sym typeface="Wingdings 3" panose="05040102010807070707" pitchFamily="18" charset="2"/>
              </a:rPr>
              <a:t></a:t>
            </a:r>
            <a:r>
              <a:rPr lang="en-US" sz="1000">
                <a:solidFill>
                  <a:schemeClr val="accent1"/>
                </a:solidFill>
                <a:sym typeface="Wingdings 3" panose="05040102010807070707" pitchFamily="18" charset="2"/>
              </a:rPr>
              <a:t> </a:t>
            </a:r>
            <a:r>
              <a:rPr lang="en-US" sz="1000">
                <a:cs typeface="Arial" pitchFamily="34" charset="0"/>
              </a:rPr>
              <a:t>Routing</a:t>
            </a:r>
            <a:endParaRPr lang="en-US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511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algn="r"/>
            <a:r>
              <a:rPr lang="en-US" sz="1000">
                <a:solidFill>
                  <a:srgbClr val="DC291E"/>
                </a:solidFill>
                <a:sym typeface="Wingdings 3" panose="05040102010807070707" pitchFamily="18" charset="2"/>
              </a:rPr>
              <a:t></a:t>
            </a:r>
            <a:r>
              <a:rPr lang="en-US" sz="1000">
                <a:solidFill>
                  <a:schemeClr val="accent1"/>
                </a:solidFill>
                <a:sym typeface="Wingdings 3" panose="05040102010807070707" pitchFamily="18" charset="2"/>
              </a:rPr>
              <a:t> </a:t>
            </a:r>
            <a:r>
              <a:rPr lang="en-US" sz="1000">
                <a:cs typeface="Arial" pitchFamily="34" charset="0"/>
              </a:rPr>
              <a:t>Routing</a:t>
            </a:r>
            <a:endParaRPr lang="en-US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589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algn="r"/>
            <a:r>
              <a:rPr lang="en-US" sz="1000">
                <a:solidFill>
                  <a:srgbClr val="DC291E"/>
                </a:solidFill>
                <a:sym typeface="Wingdings 3" panose="05040102010807070707" pitchFamily="18" charset="2"/>
              </a:rPr>
              <a:t></a:t>
            </a:r>
            <a:r>
              <a:rPr lang="en-US" sz="1000">
                <a:solidFill>
                  <a:schemeClr val="accent1"/>
                </a:solidFill>
                <a:sym typeface="Wingdings 3" panose="05040102010807070707" pitchFamily="18" charset="2"/>
              </a:rPr>
              <a:t> </a:t>
            </a:r>
            <a:r>
              <a:rPr lang="en-US" sz="1000">
                <a:cs typeface="Arial" pitchFamily="34" charset="0"/>
              </a:rPr>
              <a:t>Routing</a:t>
            </a:r>
            <a:endParaRPr lang="en-US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1162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9E3BC-84C4-453A-BFBE-C44B09631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449" y="2640652"/>
            <a:ext cx="7590551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038" y="1838794"/>
            <a:ext cx="2075676" cy="79567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286A1C8-E01B-D593-3A9D-1507714E9E9F}"/>
              </a:ext>
            </a:extLst>
          </p:cNvPr>
          <p:cNvGrpSpPr/>
          <p:nvPr userDrawn="1"/>
        </p:nvGrpSpPr>
        <p:grpSpPr>
          <a:xfrm>
            <a:off x="-2421431" y="-1526286"/>
            <a:ext cx="8517431" cy="9722323"/>
            <a:chOff x="-4358576" y="-2747315"/>
            <a:chExt cx="15331376" cy="17500182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5B859243-D91C-C69C-7C59-96B7AF36802D}"/>
                </a:ext>
              </a:extLst>
            </p:cNvPr>
            <p:cNvSpPr/>
            <p:nvPr userDrawn="1"/>
          </p:nvSpPr>
          <p:spPr>
            <a:xfrm>
              <a:off x="0" y="0"/>
              <a:ext cx="10972800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61819916-F4F5-413C-1547-88C0581C5550}"/>
                </a:ext>
              </a:extLst>
            </p:cNvPr>
            <p:cNvSpPr/>
            <p:nvPr userDrawn="1"/>
          </p:nvSpPr>
          <p:spPr>
            <a:xfrm flipV="1">
              <a:off x="0" y="0"/>
              <a:ext cx="10801884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1C9F753C-1C13-2C5B-652F-8AC756B49A53}"/>
                </a:ext>
              </a:extLst>
            </p:cNvPr>
            <p:cNvSpPr/>
            <p:nvPr userDrawn="1"/>
          </p:nvSpPr>
          <p:spPr>
            <a:xfrm rot="13487843">
              <a:off x="-4358576" y="1794390"/>
              <a:ext cx="8703081" cy="875562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71BF2B95-4D31-7B32-6A93-0373476AE4F0}"/>
                </a:ext>
              </a:extLst>
            </p:cNvPr>
            <p:cNvSpPr/>
            <p:nvPr userDrawn="1"/>
          </p:nvSpPr>
          <p:spPr>
            <a:xfrm rot="2075180">
              <a:off x="2960618" y="2836523"/>
              <a:ext cx="4770319" cy="11916344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34199 w 4770319"/>
                <a:gd name="connsiteY3" fmla="*/ 8914194 h 11834458"/>
                <a:gd name="connsiteX4" fmla="*/ 0 w 4770319"/>
                <a:gd name="connsiteY4" fmla="*/ 11834458 h 11834458"/>
                <a:gd name="connsiteX0" fmla="*/ 0 w 4770319"/>
                <a:gd name="connsiteY0" fmla="*/ 11893133 h 11893133"/>
                <a:gd name="connsiteX1" fmla="*/ 1395908 w 4770319"/>
                <a:gd name="connsiteY1" fmla="*/ 0 h 11893133"/>
                <a:gd name="connsiteX2" fmla="*/ 4770319 w 4770319"/>
                <a:gd name="connsiteY2" fmla="*/ 4626322 h 11893133"/>
                <a:gd name="connsiteX3" fmla="*/ 4234199 w 4770319"/>
                <a:gd name="connsiteY3" fmla="*/ 8972869 h 11893133"/>
                <a:gd name="connsiteX4" fmla="*/ 0 w 4770319"/>
                <a:gd name="connsiteY4" fmla="*/ 11893133 h 1189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70319" h="11893133">
                  <a:moveTo>
                    <a:pt x="0" y="11893133"/>
                  </a:moveTo>
                  <a:lnTo>
                    <a:pt x="1395908" y="0"/>
                  </a:lnTo>
                  <a:lnTo>
                    <a:pt x="4770319" y="4626322"/>
                  </a:lnTo>
                  <a:lnTo>
                    <a:pt x="4234199" y="8972869"/>
                  </a:lnTo>
                  <a:lnTo>
                    <a:pt x="0" y="11893133"/>
                  </a:lnTo>
                  <a:close/>
                </a:path>
              </a:pathLst>
            </a:custGeom>
            <a:solidFill>
              <a:srgbClr val="3F8D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5" name="Parallelogram 13">
              <a:extLst>
                <a:ext uri="{FF2B5EF4-FFF2-40B4-BE49-F238E27FC236}">
                  <a16:creationId xmlns:a16="http://schemas.microsoft.com/office/drawing/2014/main" id="{F95D21D0-C1F7-8B2E-A198-138266299AE2}"/>
                </a:ext>
              </a:extLst>
            </p:cNvPr>
            <p:cNvSpPr/>
            <p:nvPr userDrawn="1"/>
          </p:nvSpPr>
          <p:spPr>
            <a:xfrm rot="8425880" flipH="1">
              <a:off x="3385128" y="-2747315"/>
              <a:ext cx="4217374" cy="12145347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230214 w 3758701"/>
                <a:gd name="connsiteY3" fmla="*/ 8925289 h 12193226"/>
                <a:gd name="connsiteX4" fmla="*/ 0 w 3758701"/>
                <a:gd name="connsiteY4" fmla="*/ 12193226 h 12193226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382557 w 3758701"/>
                <a:gd name="connsiteY3" fmla="*/ 9197087 h 12193226"/>
                <a:gd name="connsiteX4" fmla="*/ 0 w 3758701"/>
                <a:gd name="connsiteY4" fmla="*/ 12193226 h 12193226"/>
                <a:gd name="connsiteX0" fmla="*/ 0 w 3758701"/>
                <a:gd name="connsiteY0" fmla="*/ 11937534 h 11937534"/>
                <a:gd name="connsiteX1" fmla="*/ 434410 w 3758701"/>
                <a:gd name="connsiteY1" fmla="*/ 0 h 11937534"/>
                <a:gd name="connsiteX2" fmla="*/ 3758701 w 3758701"/>
                <a:gd name="connsiteY2" fmla="*/ 4311955 h 11937534"/>
                <a:gd name="connsiteX3" fmla="*/ 3382557 w 3758701"/>
                <a:gd name="connsiteY3" fmla="*/ 8941395 h 11937534"/>
                <a:gd name="connsiteX4" fmla="*/ 0 w 3758701"/>
                <a:gd name="connsiteY4" fmla="*/ 11937534 h 11937534"/>
                <a:gd name="connsiteX0" fmla="*/ 0 w 3758701"/>
                <a:gd name="connsiteY0" fmla="*/ 12147583 h 12147583"/>
                <a:gd name="connsiteX1" fmla="*/ 435222 w 3758701"/>
                <a:gd name="connsiteY1" fmla="*/ 0 h 12147583"/>
                <a:gd name="connsiteX2" fmla="*/ 3758701 w 3758701"/>
                <a:gd name="connsiteY2" fmla="*/ 4522004 h 12147583"/>
                <a:gd name="connsiteX3" fmla="*/ 3382557 w 3758701"/>
                <a:gd name="connsiteY3" fmla="*/ 9151444 h 12147583"/>
                <a:gd name="connsiteX4" fmla="*/ 0 w 3758701"/>
                <a:gd name="connsiteY4" fmla="*/ 12147583 h 12147583"/>
                <a:gd name="connsiteX0" fmla="*/ 0 w 3718247"/>
                <a:gd name="connsiteY0" fmla="*/ 12094610 h 12094610"/>
                <a:gd name="connsiteX1" fmla="*/ 394768 w 3718247"/>
                <a:gd name="connsiteY1" fmla="*/ 0 h 12094610"/>
                <a:gd name="connsiteX2" fmla="*/ 3718247 w 3718247"/>
                <a:gd name="connsiteY2" fmla="*/ 4522004 h 12094610"/>
                <a:gd name="connsiteX3" fmla="*/ 3342103 w 3718247"/>
                <a:gd name="connsiteY3" fmla="*/ 9151444 h 12094610"/>
                <a:gd name="connsiteX4" fmla="*/ 0 w 3718247"/>
                <a:gd name="connsiteY4" fmla="*/ 12094610 h 12094610"/>
                <a:gd name="connsiteX0" fmla="*/ 0 w 3734266"/>
                <a:gd name="connsiteY0" fmla="*/ 12094610 h 12094610"/>
                <a:gd name="connsiteX1" fmla="*/ 394768 w 3734266"/>
                <a:gd name="connsiteY1" fmla="*/ 0 h 12094610"/>
                <a:gd name="connsiteX2" fmla="*/ 3734266 w 3734266"/>
                <a:gd name="connsiteY2" fmla="*/ 4542648 h 12094610"/>
                <a:gd name="connsiteX3" fmla="*/ 3342103 w 3734266"/>
                <a:gd name="connsiteY3" fmla="*/ 9151444 h 12094610"/>
                <a:gd name="connsiteX4" fmla="*/ 0 w 3734266"/>
                <a:gd name="connsiteY4" fmla="*/ 12094610 h 12094610"/>
                <a:gd name="connsiteX0" fmla="*/ 0 w 3756611"/>
                <a:gd name="connsiteY0" fmla="*/ 12094610 h 12094610"/>
                <a:gd name="connsiteX1" fmla="*/ 394768 w 3756611"/>
                <a:gd name="connsiteY1" fmla="*/ 0 h 12094610"/>
                <a:gd name="connsiteX2" fmla="*/ 3756611 w 3756611"/>
                <a:gd name="connsiteY2" fmla="*/ 4592468 h 12094610"/>
                <a:gd name="connsiteX3" fmla="*/ 3342103 w 3756611"/>
                <a:gd name="connsiteY3" fmla="*/ 9151444 h 12094610"/>
                <a:gd name="connsiteX4" fmla="*/ 0 w 3756611"/>
                <a:gd name="connsiteY4" fmla="*/ 12094610 h 12094610"/>
                <a:gd name="connsiteX0" fmla="*/ 0 w 3764149"/>
                <a:gd name="connsiteY0" fmla="*/ 12094610 h 12094610"/>
                <a:gd name="connsiteX1" fmla="*/ 394768 w 3764149"/>
                <a:gd name="connsiteY1" fmla="*/ 0 h 12094610"/>
                <a:gd name="connsiteX2" fmla="*/ 3764149 w 3764149"/>
                <a:gd name="connsiteY2" fmla="*/ 4559190 h 12094610"/>
                <a:gd name="connsiteX3" fmla="*/ 3342103 w 3764149"/>
                <a:gd name="connsiteY3" fmla="*/ 9151444 h 12094610"/>
                <a:gd name="connsiteX4" fmla="*/ 0 w 3764149"/>
                <a:gd name="connsiteY4" fmla="*/ 12094610 h 12094610"/>
                <a:gd name="connsiteX0" fmla="*/ 0 w 3769966"/>
                <a:gd name="connsiteY0" fmla="*/ 12094610 h 12094610"/>
                <a:gd name="connsiteX1" fmla="*/ 394768 w 3769966"/>
                <a:gd name="connsiteY1" fmla="*/ 0 h 12094610"/>
                <a:gd name="connsiteX2" fmla="*/ 3769966 w 3769966"/>
                <a:gd name="connsiteY2" fmla="*/ 4545190 h 12094610"/>
                <a:gd name="connsiteX3" fmla="*/ 3342103 w 3769966"/>
                <a:gd name="connsiteY3" fmla="*/ 9151444 h 12094610"/>
                <a:gd name="connsiteX4" fmla="*/ 0 w 3769966"/>
                <a:gd name="connsiteY4" fmla="*/ 12094610 h 12094610"/>
                <a:gd name="connsiteX0" fmla="*/ 0 w 3824271"/>
                <a:gd name="connsiteY0" fmla="*/ 12094610 h 12094610"/>
                <a:gd name="connsiteX1" fmla="*/ 394768 w 3824271"/>
                <a:gd name="connsiteY1" fmla="*/ 0 h 12094610"/>
                <a:gd name="connsiteX2" fmla="*/ 3824271 w 3824271"/>
                <a:gd name="connsiteY2" fmla="*/ 4550687 h 12094610"/>
                <a:gd name="connsiteX3" fmla="*/ 3342103 w 3824271"/>
                <a:gd name="connsiteY3" fmla="*/ 9151444 h 12094610"/>
                <a:gd name="connsiteX4" fmla="*/ 0 w 3824271"/>
                <a:gd name="connsiteY4" fmla="*/ 12094610 h 12094610"/>
                <a:gd name="connsiteX0" fmla="*/ 0 w 3926781"/>
                <a:gd name="connsiteY0" fmla="*/ 12094610 h 12094610"/>
                <a:gd name="connsiteX1" fmla="*/ 394768 w 3926781"/>
                <a:gd name="connsiteY1" fmla="*/ 0 h 12094610"/>
                <a:gd name="connsiteX2" fmla="*/ 3926781 w 3926781"/>
                <a:gd name="connsiteY2" fmla="*/ 4566893 h 12094610"/>
                <a:gd name="connsiteX3" fmla="*/ 3342103 w 3926781"/>
                <a:gd name="connsiteY3" fmla="*/ 9151444 h 12094610"/>
                <a:gd name="connsiteX4" fmla="*/ 0 w 3926781"/>
                <a:gd name="connsiteY4" fmla="*/ 12094610 h 12094610"/>
                <a:gd name="connsiteX0" fmla="*/ 0 w 3952346"/>
                <a:gd name="connsiteY0" fmla="*/ 12094610 h 12094610"/>
                <a:gd name="connsiteX1" fmla="*/ 394768 w 3952346"/>
                <a:gd name="connsiteY1" fmla="*/ 0 h 12094610"/>
                <a:gd name="connsiteX2" fmla="*/ 3952346 w 3952346"/>
                <a:gd name="connsiteY2" fmla="*/ 4586962 h 12094610"/>
                <a:gd name="connsiteX3" fmla="*/ 3342103 w 3952346"/>
                <a:gd name="connsiteY3" fmla="*/ 9151444 h 12094610"/>
                <a:gd name="connsiteX4" fmla="*/ 0 w 3952346"/>
                <a:gd name="connsiteY4" fmla="*/ 12094610 h 12094610"/>
                <a:gd name="connsiteX0" fmla="*/ 0 w 3943563"/>
                <a:gd name="connsiteY0" fmla="*/ 12094610 h 12094610"/>
                <a:gd name="connsiteX1" fmla="*/ 394768 w 3943563"/>
                <a:gd name="connsiteY1" fmla="*/ 0 h 12094610"/>
                <a:gd name="connsiteX2" fmla="*/ 3943563 w 3943563"/>
                <a:gd name="connsiteY2" fmla="*/ 4562765 h 12094610"/>
                <a:gd name="connsiteX3" fmla="*/ 3342103 w 3943563"/>
                <a:gd name="connsiteY3" fmla="*/ 9151444 h 12094610"/>
                <a:gd name="connsiteX4" fmla="*/ 0 w 3943563"/>
                <a:gd name="connsiteY4" fmla="*/ 12094610 h 1209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563" h="12094610">
                  <a:moveTo>
                    <a:pt x="0" y="12094610"/>
                  </a:moveTo>
                  <a:lnTo>
                    <a:pt x="394768" y="0"/>
                  </a:lnTo>
                  <a:lnTo>
                    <a:pt x="3943563" y="4562765"/>
                  </a:lnTo>
                  <a:lnTo>
                    <a:pt x="3342103" y="9151444"/>
                  </a:lnTo>
                  <a:lnTo>
                    <a:pt x="0" y="12094610"/>
                  </a:lnTo>
                  <a:close/>
                </a:path>
              </a:pathLst>
            </a:custGeom>
            <a:solidFill>
              <a:srgbClr val="6FC0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9D7E75C-7FF4-B5DB-908B-43099D5D03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1449" y="3769448"/>
            <a:ext cx="7590550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5E73EA-E110-F443-C187-294E2C9C10E5}"/>
              </a:ext>
            </a:extLst>
          </p:cNvPr>
          <p:cNvSpPr txBox="1"/>
          <p:nvPr userDrawn="1"/>
        </p:nvSpPr>
        <p:spPr>
          <a:xfrm>
            <a:off x="5779477" y="6645648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652881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ed Section 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DA4D00A-3DE7-455D-996E-5B9A8C59A4A1}"/>
              </a:ext>
            </a:extLst>
          </p:cNvPr>
          <p:cNvSpPr/>
          <p:nvPr userDrawn="1"/>
        </p:nvSpPr>
        <p:spPr>
          <a:xfrm>
            <a:off x="199698" y="235277"/>
            <a:ext cx="11792607" cy="6409997"/>
          </a:xfrm>
          <a:prstGeom prst="rect">
            <a:avLst/>
          </a:prstGeom>
          <a:solidFill>
            <a:srgbClr val="007AC3"/>
          </a:solidFill>
        </p:spPr>
        <p:txBody>
          <a:bodyPr vert="horz" lIns="274320" tIns="0" rIns="274320" bIns="0" rtlCol="0" anchor="ctr" anchorCtr="0">
            <a:noAutofit/>
          </a:bodyPr>
          <a:lstStyle/>
          <a:p>
            <a:pPr marL="914473" lvl="0">
              <a:lnSpc>
                <a:spcPct val="100000"/>
              </a:lnSpc>
              <a:spcBef>
                <a:spcPct val="0"/>
              </a:spcBef>
              <a:buNone/>
            </a:pPr>
            <a:endParaRPr lang="en-US" sz="3600" cap="all" baseline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Oswald Regular" pitchFamily="2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950B4A-3376-41E4-906A-8F38C20799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1453" y="2629625"/>
            <a:ext cx="10121459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DEC1CE1-1CCB-4E25-90C7-2521C5F069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1453" y="3550329"/>
            <a:ext cx="10121459" cy="716187"/>
          </a:xfrm>
          <a:prstGeom prst="rect">
            <a:avLst/>
          </a:prstGeom>
        </p:spPr>
        <p:txBody>
          <a:bodyPr lIns="0" tIns="0" rIns="182880" bIns="0" anchor="ctr">
            <a:noAutofit/>
          </a:bodyPr>
          <a:lstStyle>
            <a:lvl1pPr marL="0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DC4F9C3-80FD-4DB9-B6B4-BF56632736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2591487"/>
            <a:ext cx="1271755" cy="1675029"/>
          </a:xfrm>
          <a:prstGeom prst="rect">
            <a:avLst/>
          </a:prstGeom>
          <a:solidFill>
            <a:srgbClr val="6FC05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>
              <a:defRPr lang="en-US" sz="4800" spc="-200" baseline="0" dirty="0">
                <a:solidFill>
                  <a:schemeClr val="l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 algn="ctr"/>
            <a:r>
              <a:rPr lang="en-US"/>
              <a:t>1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99463807-8727-2BEA-AC68-BBE7F3465E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24" y="6011851"/>
            <a:ext cx="1271755" cy="47690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31B543E-0B88-A0D9-B83B-AF683AB0221A}"/>
              </a:ext>
            </a:extLst>
          </p:cNvPr>
          <p:cNvSpPr txBox="1"/>
          <p:nvPr userDrawn="1"/>
        </p:nvSpPr>
        <p:spPr>
          <a:xfrm>
            <a:off x="5835188" y="6642556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1453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ed Section 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BF3AA82-BBCE-A946-7EF9-4E4F7FDB3623}"/>
              </a:ext>
            </a:extLst>
          </p:cNvPr>
          <p:cNvSpPr/>
          <p:nvPr userDrawn="1"/>
        </p:nvSpPr>
        <p:spPr>
          <a:xfrm>
            <a:off x="201706" y="231588"/>
            <a:ext cx="11788588" cy="6417235"/>
          </a:xfrm>
          <a:prstGeom prst="rect">
            <a:avLst/>
          </a:prstGeom>
          <a:solidFill>
            <a:srgbClr val="5E5E5F"/>
          </a:solidFill>
        </p:spPr>
        <p:txBody>
          <a:bodyPr vert="horz" lIns="274320" tIns="0" rIns="274320" bIns="0" rtlCol="0" anchor="ctr" anchorCtr="0">
            <a:noAutofit/>
          </a:bodyPr>
          <a:lstStyle/>
          <a:p>
            <a:pPr marL="914473" lvl="0">
              <a:lnSpc>
                <a:spcPct val="100000"/>
              </a:lnSpc>
              <a:spcBef>
                <a:spcPct val="0"/>
              </a:spcBef>
              <a:buNone/>
            </a:pPr>
            <a:endParaRPr lang="en-US" sz="3600" cap="all" baseline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Oswald Regular" pitchFamily="2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0F729A-28A7-9831-6313-8A69A066E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1453" y="2629625"/>
            <a:ext cx="10121459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0DA0EEC2-9799-5321-54CE-B7527EC147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1453" y="3550329"/>
            <a:ext cx="10121459" cy="716187"/>
          </a:xfrm>
          <a:prstGeom prst="rect">
            <a:avLst/>
          </a:prstGeom>
        </p:spPr>
        <p:txBody>
          <a:bodyPr lIns="0" tIns="0" rIns="182880" bIns="0" anchor="ctr">
            <a:noAutofit/>
          </a:bodyPr>
          <a:lstStyle>
            <a:lvl1pPr marL="0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1081DB1-FE59-3B5E-0D3E-0972E63B45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2591487"/>
            <a:ext cx="1271755" cy="1675029"/>
          </a:xfrm>
          <a:prstGeom prst="rect">
            <a:avLst/>
          </a:prstGeom>
          <a:solidFill>
            <a:srgbClr val="6FC05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>
              <a:defRPr lang="en-US" sz="4800" spc="-200" baseline="0" dirty="0">
                <a:solidFill>
                  <a:schemeClr val="l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 algn="ctr"/>
            <a:r>
              <a:rPr lang="en-US" dirty="0"/>
              <a:t>1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F79A9FD9-5D44-C887-7B4A-42C5F329C6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24" y="6011851"/>
            <a:ext cx="1271755" cy="4769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46EAD4-0C9F-5587-9E1C-F9B287BF223E}"/>
              </a:ext>
            </a:extLst>
          </p:cNvPr>
          <p:cNvSpPr txBox="1"/>
          <p:nvPr userDrawn="1"/>
        </p:nvSpPr>
        <p:spPr>
          <a:xfrm>
            <a:off x="5835188" y="6642556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714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Slide -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E156F289-F587-0535-45ED-10B9A651C28C}"/>
              </a:ext>
            </a:extLst>
          </p:cNvPr>
          <p:cNvSpPr/>
          <p:nvPr userDrawn="1"/>
        </p:nvSpPr>
        <p:spPr>
          <a:xfrm>
            <a:off x="0" y="1673903"/>
            <a:ext cx="10473764" cy="3489377"/>
          </a:xfrm>
          <a:custGeom>
            <a:avLst/>
            <a:gdLst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8852776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5087600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52776" h="6280878">
                <a:moveTo>
                  <a:pt x="0" y="0"/>
                </a:moveTo>
                <a:lnTo>
                  <a:pt x="18852776" y="0"/>
                </a:lnTo>
                <a:lnTo>
                  <a:pt x="15087600" y="6280878"/>
                </a:lnTo>
                <a:lnTo>
                  <a:pt x="0" y="6280878"/>
                </a:lnTo>
                <a:lnTo>
                  <a:pt x="0" y="0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2" name="Parallelogram 3">
            <a:extLst>
              <a:ext uri="{FF2B5EF4-FFF2-40B4-BE49-F238E27FC236}">
                <a16:creationId xmlns:a16="http://schemas.microsoft.com/office/drawing/2014/main" id="{1C082A5E-2F3B-6773-C24A-C084740ACAE0}"/>
              </a:ext>
            </a:extLst>
          </p:cNvPr>
          <p:cNvSpPr/>
          <p:nvPr userDrawn="1"/>
        </p:nvSpPr>
        <p:spPr>
          <a:xfrm>
            <a:off x="10072635" y="1673903"/>
            <a:ext cx="1647929" cy="180754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  <a:gd name="connsiteX0" fmla="*/ 0 w 4992618"/>
              <a:gd name="connsiteY0" fmla="*/ 5618182 h 5618182"/>
              <a:gd name="connsiteX1" fmla="*/ 3592264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592264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3" name="Parallelogram 3">
            <a:extLst>
              <a:ext uri="{FF2B5EF4-FFF2-40B4-BE49-F238E27FC236}">
                <a16:creationId xmlns:a16="http://schemas.microsoft.com/office/drawing/2014/main" id="{5EE77E00-E0DC-16E7-3C11-D8782FFBD358}"/>
              </a:ext>
            </a:extLst>
          </p:cNvPr>
          <p:cNvSpPr/>
          <p:nvPr userDrawn="1"/>
        </p:nvSpPr>
        <p:spPr>
          <a:xfrm>
            <a:off x="9151327" y="1673903"/>
            <a:ext cx="2150010" cy="2578224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13612">
                <a:moveTo>
                  <a:pt x="0" y="8001812"/>
                </a:moveTo>
                <a:lnTo>
                  <a:pt x="5161560" y="0"/>
                </a:lnTo>
                <a:lnTo>
                  <a:pt x="6513737" y="0"/>
                </a:lnTo>
                <a:lnTo>
                  <a:pt x="1349006" y="8013612"/>
                </a:lnTo>
                <a:lnTo>
                  <a:pt x="0" y="8001812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6" name="Parallelogram 3">
            <a:extLst>
              <a:ext uri="{FF2B5EF4-FFF2-40B4-BE49-F238E27FC236}">
                <a16:creationId xmlns:a16="http://schemas.microsoft.com/office/drawing/2014/main" id="{9FA4025D-F0B3-60B6-FC97-9342CBE9A94E}"/>
              </a:ext>
            </a:extLst>
          </p:cNvPr>
          <p:cNvSpPr/>
          <p:nvPr userDrawn="1"/>
        </p:nvSpPr>
        <p:spPr>
          <a:xfrm>
            <a:off x="8142316" y="1673903"/>
            <a:ext cx="2754283" cy="3489377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3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62552C0-E425-5C96-2B21-9D81F6B64B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45" y="2976007"/>
            <a:ext cx="9195508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D21E9A-37F8-863A-C4FF-C40E6E0F0CB1}"/>
              </a:ext>
            </a:extLst>
          </p:cNvPr>
          <p:cNvSpPr txBox="1"/>
          <p:nvPr userDrawn="1"/>
        </p:nvSpPr>
        <p:spPr>
          <a:xfrm>
            <a:off x="161304" y="6673899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07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C8F347-128E-B23F-4C6B-B0C8965B94A5}"/>
              </a:ext>
            </a:extLst>
          </p:cNvPr>
          <p:cNvSpPr/>
          <p:nvPr userDrawn="1"/>
        </p:nvSpPr>
        <p:spPr>
          <a:xfrm>
            <a:off x="0" y="1673903"/>
            <a:ext cx="10473764" cy="3489377"/>
          </a:xfrm>
          <a:custGeom>
            <a:avLst/>
            <a:gdLst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8852776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5087600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52776" h="6280878">
                <a:moveTo>
                  <a:pt x="0" y="0"/>
                </a:moveTo>
                <a:lnTo>
                  <a:pt x="18852776" y="0"/>
                </a:lnTo>
                <a:lnTo>
                  <a:pt x="15087600" y="6280878"/>
                </a:lnTo>
                <a:lnTo>
                  <a:pt x="0" y="6280878"/>
                </a:lnTo>
                <a:lnTo>
                  <a:pt x="0" y="0"/>
                </a:lnTo>
                <a:close/>
              </a:path>
            </a:pathLst>
          </a:custGeom>
          <a:solidFill>
            <a:srgbClr val="40404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" name="Parallelogram 3">
            <a:extLst>
              <a:ext uri="{FF2B5EF4-FFF2-40B4-BE49-F238E27FC236}">
                <a16:creationId xmlns:a16="http://schemas.microsoft.com/office/drawing/2014/main" id="{89A12302-985F-B105-D352-22E1D9E71368}"/>
              </a:ext>
            </a:extLst>
          </p:cNvPr>
          <p:cNvSpPr/>
          <p:nvPr userDrawn="1"/>
        </p:nvSpPr>
        <p:spPr>
          <a:xfrm>
            <a:off x="10072635" y="1673903"/>
            <a:ext cx="1647929" cy="180754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  <a:gd name="connsiteX0" fmla="*/ 0 w 4992618"/>
              <a:gd name="connsiteY0" fmla="*/ 5618182 h 5618182"/>
              <a:gd name="connsiteX1" fmla="*/ 3592264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592264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Parallelogram 3">
            <a:extLst>
              <a:ext uri="{FF2B5EF4-FFF2-40B4-BE49-F238E27FC236}">
                <a16:creationId xmlns:a16="http://schemas.microsoft.com/office/drawing/2014/main" id="{2C4EC3DD-CDE1-7964-130F-17A7116F187A}"/>
              </a:ext>
            </a:extLst>
          </p:cNvPr>
          <p:cNvSpPr/>
          <p:nvPr userDrawn="1"/>
        </p:nvSpPr>
        <p:spPr>
          <a:xfrm>
            <a:off x="9151327" y="1673903"/>
            <a:ext cx="2150010" cy="2578224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13612">
                <a:moveTo>
                  <a:pt x="0" y="8001812"/>
                </a:moveTo>
                <a:lnTo>
                  <a:pt x="5161560" y="0"/>
                </a:lnTo>
                <a:lnTo>
                  <a:pt x="6513737" y="0"/>
                </a:lnTo>
                <a:lnTo>
                  <a:pt x="1349006" y="8013612"/>
                </a:lnTo>
                <a:lnTo>
                  <a:pt x="0" y="8001812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" name="Parallelogram 3">
            <a:extLst>
              <a:ext uri="{FF2B5EF4-FFF2-40B4-BE49-F238E27FC236}">
                <a16:creationId xmlns:a16="http://schemas.microsoft.com/office/drawing/2014/main" id="{C7044782-2D40-C5E6-BDF8-CCD7DE12298A}"/>
              </a:ext>
            </a:extLst>
          </p:cNvPr>
          <p:cNvSpPr/>
          <p:nvPr userDrawn="1"/>
        </p:nvSpPr>
        <p:spPr>
          <a:xfrm>
            <a:off x="8142316" y="1673903"/>
            <a:ext cx="2754283" cy="3489377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15F92E3-8639-F646-B017-ADF9E9485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45" y="2976007"/>
            <a:ext cx="9195508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CC8C01-EF53-7E4A-2655-82C49AFE5FD5}"/>
              </a:ext>
            </a:extLst>
          </p:cNvPr>
          <p:cNvSpPr txBox="1"/>
          <p:nvPr userDrawn="1"/>
        </p:nvSpPr>
        <p:spPr>
          <a:xfrm>
            <a:off x="161304" y="6673899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9200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D69157-5AE2-1432-0179-151A28DE231B}"/>
              </a:ext>
            </a:extLst>
          </p:cNvPr>
          <p:cNvSpPr/>
          <p:nvPr userDrawn="1"/>
        </p:nvSpPr>
        <p:spPr>
          <a:xfrm>
            <a:off x="6557287" y="2628"/>
            <a:ext cx="5641443" cy="6860657"/>
          </a:xfrm>
          <a:custGeom>
            <a:avLst/>
            <a:gdLst>
              <a:gd name="connsiteX0" fmla="*/ 0 w 11213432"/>
              <a:gd name="connsiteY0" fmla="*/ 0 h 12339671"/>
              <a:gd name="connsiteX1" fmla="*/ 11213432 w 11213432"/>
              <a:gd name="connsiteY1" fmla="*/ 0 h 12339671"/>
              <a:gd name="connsiteX2" fmla="*/ 11213432 w 11213432"/>
              <a:gd name="connsiteY2" fmla="*/ 12339671 h 12339671"/>
              <a:gd name="connsiteX3" fmla="*/ 0 w 11213432"/>
              <a:gd name="connsiteY3" fmla="*/ 12339671 h 12339671"/>
              <a:gd name="connsiteX4" fmla="*/ 0 w 11213432"/>
              <a:gd name="connsiteY4" fmla="*/ 0 h 12339671"/>
              <a:gd name="connsiteX0" fmla="*/ 5454316 w 11213432"/>
              <a:gd name="connsiteY0" fmla="*/ 0 h 12339671"/>
              <a:gd name="connsiteX1" fmla="*/ 11213432 w 11213432"/>
              <a:gd name="connsiteY1" fmla="*/ 0 h 12339671"/>
              <a:gd name="connsiteX2" fmla="*/ 11213432 w 11213432"/>
              <a:gd name="connsiteY2" fmla="*/ 12339671 h 12339671"/>
              <a:gd name="connsiteX3" fmla="*/ 0 w 11213432"/>
              <a:gd name="connsiteY3" fmla="*/ 12339671 h 12339671"/>
              <a:gd name="connsiteX4" fmla="*/ 5454316 w 11213432"/>
              <a:gd name="connsiteY4" fmla="*/ 0 h 12339671"/>
              <a:gd name="connsiteX0" fmla="*/ 6015790 w 11213432"/>
              <a:gd name="connsiteY0" fmla="*/ 0 h 12339671"/>
              <a:gd name="connsiteX1" fmla="*/ 11213432 w 11213432"/>
              <a:gd name="connsiteY1" fmla="*/ 0 h 12339671"/>
              <a:gd name="connsiteX2" fmla="*/ 11213432 w 11213432"/>
              <a:gd name="connsiteY2" fmla="*/ 12339671 h 12339671"/>
              <a:gd name="connsiteX3" fmla="*/ 0 w 11213432"/>
              <a:gd name="connsiteY3" fmla="*/ 12339671 h 12339671"/>
              <a:gd name="connsiteX4" fmla="*/ 6015790 w 11213432"/>
              <a:gd name="connsiteY4" fmla="*/ 0 h 12339671"/>
              <a:gd name="connsiteX0" fmla="*/ 6128084 w 11325726"/>
              <a:gd name="connsiteY0" fmla="*/ 0 h 12339671"/>
              <a:gd name="connsiteX1" fmla="*/ 11325726 w 11325726"/>
              <a:gd name="connsiteY1" fmla="*/ 0 h 12339671"/>
              <a:gd name="connsiteX2" fmla="*/ 11325726 w 11325726"/>
              <a:gd name="connsiteY2" fmla="*/ 12339671 h 12339671"/>
              <a:gd name="connsiteX3" fmla="*/ 0 w 11325726"/>
              <a:gd name="connsiteY3" fmla="*/ 12323629 h 12339671"/>
              <a:gd name="connsiteX4" fmla="*/ 6128084 w 11325726"/>
              <a:gd name="connsiteY4" fmla="*/ 0 h 12339671"/>
              <a:gd name="connsiteX0" fmla="*/ 6144127 w 11341769"/>
              <a:gd name="connsiteY0" fmla="*/ 0 h 12339671"/>
              <a:gd name="connsiteX1" fmla="*/ 11341769 w 11341769"/>
              <a:gd name="connsiteY1" fmla="*/ 0 h 12339671"/>
              <a:gd name="connsiteX2" fmla="*/ 11341769 w 11341769"/>
              <a:gd name="connsiteY2" fmla="*/ 12339671 h 12339671"/>
              <a:gd name="connsiteX3" fmla="*/ 0 w 11341769"/>
              <a:gd name="connsiteY3" fmla="*/ 12307612 h 12339671"/>
              <a:gd name="connsiteX4" fmla="*/ 6144127 w 11341769"/>
              <a:gd name="connsiteY4" fmla="*/ 0 h 12339671"/>
              <a:gd name="connsiteX0" fmla="*/ 6192254 w 11389896"/>
              <a:gd name="connsiteY0" fmla="*/ 0 h 12339671"/>
              <a:gd name="connsiteX1" fmla="*/ 11389896 w 11389896"/>
              <a:gd name="connsiteY1" fmla="*/ 0 h 12339671"/>
              <a:gd name="connsiteX2" fmla="*/ 11389896 w 11389896"/>
              <a:gd name="connsiteY2" fmla="*/ 12339671 h 12339671"/>
              <a:gd name="connsiteX3" fmla="*/ 0 w 11389896"/>
              <a:gd name="connsiteY3" fmla="*/ 12323629 h 12339671"/>
              <a:gd name="connsiteX4" fmla="*/ 6192254 w 11389896"/>
              <a:gd name="connsiteY4" fmla="*/ 0 h 12339671"/>
              <a:gd name="connsiteX0" fmla="*/ 6192254 w 11389896"/>
              <a:gd name="connsiteY0" fmla="*/ 0 h 12339671"/>
              <a:gd name="connsiteX1" fmla="*/ 11389896 w 11389896"/>
              <a:gd name="connsiteY1" fmla="*/ 0 h 12339671"/>
              <a:gd name="connsiteX2" fmla="*/ 11389896 w 11389896"/>
              <a:gd name="connsiteY2" fmla="*/ 12339671 h 12339671"/>
              <a:gd name="connsiteX3" fmla="*/ 0 w 11389896"/>
              <a:gd name="connsiteY3" fmla="*/ 12323629 h 12339671"/>
              <a:gd name="connsiteX4" fmla="*/ 6192254 w 11389896"/>
              <a:gd name="connsiteY4" fmla="*/ 0 h 12339671"/>
              <a:gd name="connsiteX0" fmla="*/ 6182094 w 11379736"/>
              <a:gd name="connsiteY0" fmla="*/ 0 h 12339671"/>
              <a:gd name="connsiteX1" fmla="*/ 11379736 w 11379736"/>
              <a:gd name="connsiteY1" fmla="*/ 0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182094 w 11379736"/>
              <a:gd name="connsiteY0" fmla="*/ 0 h 12339671"/>
              <a:gd name="connsiteX1" fmla="*/ 11359416 w 11379736"/>
              <a:gd name="connsiteY1" fmla="*/ 20288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182094 w 11379736"/>
              <a:gd name="connsiteY0" fmla="*/ 0 h 12339671"/>
              <a:gd name="connsiteX1" fmla="*/ 11369576 w 11379736"/>
              <a:gd name="connsiteY1" fmla="*/ 30431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182094 w 11379736"/>
              <a:gd name="connsiteY0" fmla="*/ 0 h 12339671"/>
              <a:gd name="connsiteX1" fmla="*/ 11369576 w 11379736"/>
              <a:gd name="connsiteY1" fmla="*/ 20288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212574 w 11379736"/>
              <a:gd name="connsiteY0" fmla="*/ 0 h 12339671"/>
              <a:gd name="connsiteX1" fmla="*/ 11369576 w 11379736"/>
              <a:gd name="connsiteY1" fmla="*/ 20288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212574 w 11379736"/>
              <a:gd name="connsiteY4" fmla="*/ 0 h 12339671"/>
              <a:gd name="connsiteX0" fmla="*/ 6212574 w 11381691"/>
              <a:gd name="connsiteY0" fmla="*/ 0 h 12339671"/>
              <a:gd name="connsiteX1" fmla="*/ 11379736 w 11381691"/>
              <a:gd name="connsiteY1" fmla="*/ 10144 h 12339671"/>
              <a:gd name="connsiteX2" fmla="*/ 11379736 w 11381691"/>
              <a:gd name="connsiteY2" fmla="*/ 12339671 h 12339671"/>
              <a:gd name="connsiteX3" fmla="*/ 0 w 11381691"/>
              <a:gd name="connsiteY3" fmla="*/ 12323629 h 12339671"/>
              <a:gd name="connsiteX4" fmla="*/ 6212574 w 11381691"/>
              <a:gd name="connsiteY4" fmla="*/ 0 h 12339671"/>
              <a:gd name="connsiteX0" fmla="*/ 7001863 w 11381691"/>
              <a:gd name="connsiteY0" fmla="*/ 10843 h 12329527"/>
              <a:gd name="connsiteX1" fmla="*/ 11379736 w 11381691"/>
              <a:gd name="connsiteY1" fmla="*/ 0 h 12329527"/>
              <a:gd name="connsiteX2" fmla="*/ 11379736 w 11381691"/>
              <a:gd name="connsiteY2" fmla="*/ 12329527 h 12329527"/>
              <a:gd name="connsiteX3" fmla="*/ 0 w 11381691"/>
              <a:gd name="connsiteY3" fmla="*/ 12313485 h 12329527"/>
              <a:gd name="connsiteX4" fmla="*/ 7001863 w 11381691"/>
              <a:gd name="connsiteY4" fmla="*/ 10843 h 1232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81691" h="12329527">
                <a:moveTo>
                  <a:pt x="7001863" y="10843"/>
                </a:moveTo>
                <a:lnTo>
                  <a:pt x="11379736" y="0"/>
                </a:lnTo>
                <a:cubicBezTo>
                  <a:pt x="11386509" y="4106461"/>
                  <a:pt x="11372963" y="8223066"/>
                  <a:pt x="11379736" y="12329527"/>
                </a:cubicBezTo>
                <a:lnTo>
                  <a:pt x="0" y="12313485"/>
                </a:lnTo>
                <a:lnTo>
                  <a:pt x="7001863" y="10843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E9E3BC-84C4-453A-BFBE-C44B096313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52" y="2467495"/>
            <a:ext cx="7814012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divider title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33" y="411744"/>
            <a:ext cx="2075676" cy="795676"/>
          </a:xfrm>
          <a:prstGeom prst="rect">
            <a:avLst/>
          </a:prstGeom>
        </p:spPr>
      </p:pic>
      <p:sp>
        <p:nvSpPr>
          <p:cNvPr id="4" name="Parallelogram 3">
            <a:extLst>
              <a:ext uri="{FF2B5EF4-FFF2-40B4-BE49-F238E27FC236}">
                <a16:creationId xmlns:a16="http://schemas.microsoft.com/office/drawing/2014/main" id="{FE69F5C7-970B-5249-7482-D87663ADBA94}"/>
              </a:ext>
            </a:extLst>
          </p:cNvPr>
          <p:cNvSpPr/>
          <p:nvPr userDrawn="1"/>
        </p:nvSpPr>
        <p:spPr>
          <a:xfrm>
            <a:off x="6071060" y="-3458"/>
            <a:ext cx="4630935" cy="686630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Parallelogram 3">
            <a:extLst>
              <a:ext uri="{FF2B5EF4-FFF2-40B4-BE49-F238E27FC236}">
                <a16:creationId xmlns:a16="http://schemas.microsoft.com/office/drawing/2014/main" id="{96263AE2-FEAA-8804-9A45-EF7356AF06B2}"/>
              </a:ext>
            </a:extLst>
          </p:cNvPr>
          <p:cNvSpPr/>
          <p:nvPr userDrawn="1"/>
        </p:nvSpPr>
        <p:spPr>
          <a:xfrm>
            <a:off x="7833289" y="-1"/>
            <a:ext cx="3614935" cy="5073360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13612">
                <a:moveTo>
                  <a:pt x="0" y="8001812"/>
                </a:moveTo>
                <a:lnTo>
                  <a:pt x="5161560" y="0"/>
                </a:lnTo>
                <a:lnTo>
                  <a:pt x="6513737" y="0"/>
                </a:lnTo>
                <a:lnTo>
                  <a:pt x="1349006" y="8013612"/>
                </a:lnTo>
                <a:lnTo>
                  <a:pt x="0" y="8001812"/>
                </a:lnTo>
                <a:close/>
              </a:path>
            </a:pathLst>
          </a:custGeom>
          <a:solidFill>
            <a:srgbClr val="21C0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" name="Parallelogram 3">
            <a:extLst>
              <a:ext uri="{FF2B5EF4-FFF2-40B4-BE49-F238E27FC236}">
                <a16:creationId xmlns:a16="http://schemas.microsoft.com/office/drawing/2014/main" id="{DB610535-F72F-C2C9-2C73-BD8272A5AC43}"/>
              </a:ext>
            </a:extLst>
          </p:cNvPr>
          <p:cNvSpPr/>
          <p:nvPr userDrawn="1"/>
        </p:nvSpPr>
        <p:spPr>
          <a:xfrm>
            <a:off x="9424747" y="2627"/>
            <a:ext cx="2770758" cy="355683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  <a:gd name="connsiteX0" fmla="*/ 0 w 4992618"/>
              <a:gd name="connsiteY0" fmla="*/ 5618182 h 5618182"/>
              <a:gd name="connsiteX1" fmla="*/ 3592264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592264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3BE2DC5-5BFD-50B3-FE07-BAEB353425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51" y="3578577"/>
            <a:ext cx="7469269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B561A8-71F6-0268-54C6-BCB89F6A8AB2}"/>
              </a:ext>
            </a:extLst>
          </p:cNvPr>
          <p:cNvSpPr txBox="1"/>
          <p:nvPr userDrawn="1"/>
        </p:nvSpPr>
        <p:spPr>
          <a:xfrm>
            <a:off x="437453" y="6674247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5007963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3">
            <a:extLst>
              <a:ext uri="{FF2B5EF4-FFF2-40B4-BE49-F238E27FC236}">
                <a16:creationId xmlns:a16="http://schemas.microsoft.com/office/drawing/2014/main" id="{DB610535-F72F-C2C9-2C73-BD8272A5AC43}"/>
              </a:ext>
            </a:extLst>
          </p:cNvPr>
          <p:cNvSpPr/>
          <p:nvPr userDrawn="1"/>
        </p:nvSpPr>
        <p:spPr>
          <a:xfrm>
            <a:off x="8666439" y="-2073"/>
            <a:ext cx="2770758" cy="355683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640441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33" y="411744"/>
            <a:ext cx="2075676" cy="795676"/>
          </a:xfrm>
          <a:prstGeom prst="rect">
            <a:avLst/>
          </a:prstGeom>
        </p:spPr>
      </p:pic>
      <p:sp>
        <p:nvSpPr>
          <p:cNvPr id="4" name="Parallelogram 3">
            <a:extLst>
              <a:ext uri="{FF2B5EF4-FFF2-40B4-BE49-F238E27FC236}">
                <a16:creationId xmlns:a16="http://schemas.microsoft.com/office/drawing/2014/main" id="{FE69F5C7-970B-5249-7482-D87663ADBA94}"/>
              </a:ext>
            </a:extLst>
          </p:cNvPr>
          <p:cNvSpPr/>
          <p:nvPr userDrawn="1"/>
        </p:nvSpPr>
        <p:spPr>
          <a:xfrm>
            <a:off x="7528626" y="-3458"/>
            <a:ext cx="4630935" cy="686630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Parallelogram 3">
            <a:extLst>
              <a:ext uri="{FF2B5EF4-FFF2-40B4-BE49-F238E27FC236}">
                <a16:creationId xmlns:a16="http://schemas.microsoft.com/office/drawing/2014/main" id="{96263AE2-FEAA-8804-9A45-EF7356AF06B2}"/>
              </a:ext>
            </a:extLst>
          </p:cNvPr>
          <p:cNvSpPr/>
          <p:nvPr userDrawn="1"/>
        </p:nvSpPr>
        <p:spPr>
          <a:xfrm>
            <a:off x="8244351" y="1780628"/>
            <a:ext cx="3614935" cy="508830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13612"/>
              <a:gd name="connsiteX1" fmla="*/ 5201944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25412 h 8037212"/>
              <a:gd name="connsiteX1" fmla="*/ 5228867 w 6513737"/>
              <a:gd name="connsiteY1" fmla="*/ 0 h 8037212"/>
              <a:gd name="connsiteX2" fmla="*/ 6513737 w 6513737"/>
              <a:gd name="connsiteY2" fmla="*/ 23600 h 8037212"/>
              <a:gd name="connsiteX3" fmla="*/ 1349006 w 6513737"/>
              <a:gd name="connsiteY3" fmla="*/ 8037212 h 8037212"/>
              <a:gd name="connsiteX4" fmla="*/ 0 w 6513737"/>
              <a:gd name="connsiteY4" fmla="*/ 8025412 h 803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37212">
                <a:moveTo>
                  <a:pt x="0" y="8025412"/>
                </a:moveTo>
                <a:lnTo>
                  <a:pt x="5228867" y="0"/>
                </a:lnTo>
                <a:lnTo>
                  <a:pt x="6513737" y="23600"/>
                </a:lnTo>
                <a:lnTo>
                  <a:pt x="1349006" y="8037212"/>
                </a:lnTo>
                <a:lnTo>
                  <a:pt x="0" y="8025412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A271DC8-56D9-6281-ECC4-585F93A8AD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51" y="2467495"/>
            <a:ext cx="8543157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divid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87F9FA80-DD1F-4E3F-D1C0-3063B39FEF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52" y="3578577"/>
            <a:ext cx="8543156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E210D-4808-C7EE-6AB7-D1DA5F4BEE02}"/>
              </a:ext>
            </a:extLst>
          </p:cNvPr>
          <p:cNvSpPr txBox="1"/>
          <p:nvPr userDrawn="1"/>
        </p:nvSpPr>
        <p:spPr>
          <a:xfrm>
            <a:off x="437453" y="6673805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390858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33" y="411744"/>
            <a:ext cx="2075676" cy="79567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395FA91-6852-435A-EFC3-1AF4092B5FC9}"/>
              </a:ext>
            </a:extLst>
          </p:cNvPr>
          <p:cNvSpPr/>
          <p:nvPr userDrawn="1"/>
        </p:nvSpPr>
        <p:spPr>
          <a:xfrm>
            <a:off x="0" y="3715113"/>
            <a:ext cx="10409544" cy="563702"/>
          </a:xfrm>
          <a:custGeom>
            <a:avLst/>
            <a:gdLst>
              <a:gd name="connsiteX0" fmla="*/ 0 w 18737179"/>
              <a:gd name="connsiteY0" fmla="*/ 0 h 1014663"/>
              <a:gd name="connsiteX1" fmla="*/ 18737179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469853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19031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37179" h="1014663">
                <a:moveTo>
                  <a:pt x="0" y="0"/>
                </a:moveTo>
                <a:lnTo>
                  <a:pt x="17951116" y="0"/>
                </a:lnTo>
                <a:lnTo>
                  <a:pt x="18737179" y="1014663"/>
                </a:lnTo>
                <a:lnTo>
                  <a:pt x="0" y="1014663"/>
                </a:lnTo>
                <a:lnTo>
                  <a:pt x="0" y="0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672C51F4-2BC4-FF40-66BC-5D7FCD60C1F7}"/>
              </a:ext>
            </a:extLst>
          </p:cNvPr>
          <p:cNvSpPr/>
          <p:nvPr userDrawn="1"/>
        </p:nvSpPr>
        <p:spPr>
          <a:xfrm>
            <a:off x="-1357" y="4278816"/>
            <a:ext cx="8820059" cy="566969"/>
          </a:xfrm>
          <a:custGeom>
            <a:avLst/>
            <a:gdLst>
              <a:gd name="connsiteX0" fmla="*/ 0 w 18737179"/>
              <a:gd name="connsiteY0" fmla="*/ 0 h 1014663"/>
              <a:gd name="connsiteX1" fmla="*/ 18737179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469853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19031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2839453 w 18737179"/>
              <a:gd name="connsiteY0" fmla="*/ 16042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2839453 w 18737179"/>
              <a:gd name="connsiteY4" fmla="*/ 16042 h 1014663"/>
              <a:gd name="connsiteX0" fmla="*/ 0 w 15897726"/>
              <a:gd name="connsiteY0" fmla="*/ 16042 h 1030705"/>
              <a:gd name="connsiteX1" fmla="*/ 15111663 w 15897726"/>
              <a:gd name="connsiteY1" fmla="*/ 0 h 1030705"/>
              <a:gd name="connsiteX2" fmla="*/ 15897726 w 15897726"/>
              <a:gd name="connsiteY2" fmla="*/ 1014663 h 1030705"/>
              <a:gd name="connsiteX3" fmla="*/ 32084 w 15897726"/>
              <a:gd name="connsiteY3" fmla="*/ 1030705 h 1030705"/>
              <a:gd name="connsiteX4" fmla="*/ 0 w 15897726"/>
              <a:gd name="connsiteY4" fmla="*/ 16042 h 1030705"/>
              <a:gd name="connsiteX0" fmla="*/ 16042 w 15865642"/>
              <a:gd name="connsiteY0" fmla="*/ 48126 h 1030705"/>
              <a:gd name="connsiteX1" fmla="*/ 15079579 w 15865642"/>
              <a:gd name="connsiteY1" fmla="*/ 0 h 1030705"/>
              <a:gd name="connsiteX2" fmla="*/ 15865642 w 15865642"/>
              <a:gd name="connsiteY2" fmla="*/ 1014663 h 1030705"/>
              <a:gd name="connsiteX3" fmla="*/ 0 w 15865642"/>
              <a:gd name="connsiteY3" fmla="*/ 1030705 h 1030705"/>
              <a:gd name="connsiteX4" fmla="*/ 16042 w 15865642"/>
              <a:gd name="connsiteY4" fmla="*/ 48126 h 1030705"/>
              <a:gd name="connsiteX0" fmla="*/ 0 w 15881684"/>
              <a:gd name="connsiteY0" fmla="*/ 32084 h 1030705"/>
              <a:gd name="connsiteX1" fmla="*/ 15095621 w 15881684"/>
              <a:gd name="connsiteY1" fmla="*/ 0 h 1030705"/>
              <a:gd name="connsiteX2" fmla="*/ 15881684 w 15881684"/>
              <a:gd name="connsiteY2" fmla="*/ 1014663 h 1030705"/>
              <a:gd name="connsiteX3" fmla="*/ 16042 w 15881684"/>
              <a:gd name="connsiteY3" fmla="*/ 1030705 h 1030705"/>
              <a:gd name="connsiteX4" fmla="*/ 0 w 15881684"/>
              <a:gd name="connsiteY4" fmla="*/ 32084 h 1030705"/>
              <a:gd name="connsiteX0" fmla="*/ 0 w 15871524"/>
              <a:gd name="connsiteY0" fmla="*/ 1604 h 1030705"/>
              <a:gd name="connsiteX1" fmla="*/ 15085461 w 15871524"/>
              <a:gd name="connsiteY1" fmla="*/ 0 h 1030705"/>
              <a:gd name="connsiteX2" fmla="*/ 15871524 w 15871524"/>
              <a:gd name="connsiteY2" fmla="*/ 1014663 h 1030705"/>
              <a:gd name="connsiteX3" fmla="*/ 5882 w 15871524"/>
              <a:gd name="connsiteY3" fmla="*/ 1030705 h 1030705"/>
              <a:gd name="connsiteX4" fmla="*/ 0 w 15871524"/>
              <a:gd name="connsiteY4" fmla="*/ 1604 h 1030705"/>
              <a:gd name="connsiteX0" fmla="*/ 4583 w 15876107"/>
              <a:gd name="connsiteY0" fmla="*/ 1604 h 1020545"/>
              <a:gd name="connsiteX1" fmla="*/ 15090044 w 15876107"/>
              <a:gd name="connsiteY1" fmla="*/ 0 h 1020545"/>
              <a:gd name="connsiteX2" fmla="*/ 15876107 w 15876107"/>
              <a:gd name="connsiteY2" fmla="*/ 1014663 h 1020545"/>
              <a:gd name="connsiteX3" fmla="*/ 305 w 15876107"/>
              <a:gd name="connsiteY3" fmla="*/ 1020545 h 1020545"/>
              <a:gd name="connsiteX4" fmla="*/ 4583 w 15876107"/>
              <a:gd name="connsiteY4" fmla="*/ 1604 h 1020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76107" h="1020545">
                <a:moveTo>
                  <a:pt x="4583" y="1604"/>
                </a:moveTo>
                <a:lnTo>
                  <a:pt x="15090044" y="0"/>
                </a:lnTo>
                <a:lnTo>
                  <a:pt x="15876107" y="1014663"/>
                </a:lnTo>
                <a:lnTo>
                  <a:pt x="305" y="1020545"/>
                </a:lnTo>
                <a:cubicBezTo>
                  <a:pt x="-1656" y="677511"/>
                  <a:pt x="6544" y="344638"/>
                  <a:pt x="4583" y="1604"/>
                </a:cubicBez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66E11824-286F-5BB1-8C73-1099CFECBF93}"/>
              </a:ext>
            </a:extLst>
          </p:cNvPr>
          <p:cNvSpPr/>
          <p:nvPr userDrawn="1"/>
        </p:nvSpPr>
        <p:spPr>
          <a:xfrm flipH="1" flipV="1">
            <a:off x="6650409" y="3139734"/>
            <a:ext cx="5558510" cy="577367"/>
          </a:xfrm>
          <a:custGeom>
            <a:avLst/>
            <a:gdLst>
              <a:gd name="connsiteX0" fmla="*/ 0 w 18737179"/>
              <a:gd name="connsiteY0" fmla="*/ 0 h 1014663"/>
              <a:gd name="connsiteX1" fmla="*/ 18737179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469853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19031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2839453 w 18737179"/>
              <a:gd name="connsiteY0" fmla="*/ 16042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2839453 w 18737179"/>
              <a:gd name="connsiteY4" fmla="*/ 16042 h 1014663"/>
              <a:gd name="connsiteX0" fmla="*/ 0 w 15897726"/>
              <a:gd name="connsiteY0" fmla="*/ 16042 h 1030705"/>
              <a:gd name="connsiteX1" fmla="*/ 15111663 w 15897726"/>
              <a:gd name="connsiteY1" fmla="*/ 0 h 1030705"/>
              <a:gd name="connsiteX2" fmla="*/ 15897726 w 15897726"/>
              <a:gd name="connsiteY2" fmla="*/ 1014663 h 1030705"/>
              <a:gd name="connsiteX3" fmla="*/ 32084 w 15897726"/>
              <a:gd name="connsiteY3" fmla="*/ 1030705 h 1030705"/>
              <a:gd name="connsiteX4" fmla="*/ 0 w 15897726"/>
              <a:gd name="connsiteY4" fmla="*/ 16042 h 1030705"/>
              <a:gd name="connsiteX0" fmla="*/ 16042 w 15865642"/>
              <a:gd name="connsiteY0" fmla="*/ 48126 h 1030705"/>
              <a:gd name="connsiteX1" fmla="*/ 15079579 w 15865642"/>
              <a:gd name="connsiteY1" fmla="*/ 0 h 1030705"/>
              <a:gd name="connsiteX2" fmla="*/ 15865642 w 15865642"/>
              <a:gd name="connsiteY2" fmla="*/ 1014663 h 1030705"/>
              <a:gd name="connsiteX3" fmla="*/ 0 w 15865642"/>
              <a:gd name="connsiteY3" fmla="*/ 1030705 h 1030705"/>
              <a:gd name="connsiteX4" fmla="*/ 16042 w 15865642"/>
              <a:gd name="connsiteY4" fmla="*/ 48126 h 1030705"/>
              <a:gd name="connsiteX0" fmla="*/ 0 w 15881684"/>
              <a:gd name="connsiteY0" fmla="*/ 32084 h 1030705"/>
              <a:gd name="connsiteX1" fmla="*/ 15095621 w 15881684"/>
              <a:gd name="connsiteY1" fmla="*/ 0 h 1030705"/>
              <a:gd name="connsiteX2" fmla="*/ 15881684 w 15881684"/>
              <a:gd name="connsiteY2" fmla="*/ 1014663 h 1030705"/>
              <a:gd name="connsiteX3" fmla="*/ 16042 w 15881684"/>
              <a:gd name="connsiteY3" fmla="*/ 1030705 h 1030705"/>
              <a:gd name="connsiteX4" fmla="*/ 0 w 15881684"/>
              <a:gd name="connsiteY4" fmla="*/ 32084 h 1030705"/>
              <a:gd name="connsiteX0" fmla="*/ 0 w 15871524"/>
              <a:gd name="connsiteY0" fmla="*/ 1604 h 1030705"/>
              <a:gd name="connsiteX1" fmla="*/ 15085461 w 15871524"/>
              <a:gd name="connsiteY1" fmla="*/ 0 h 1030705"/>
              <a:gd name="connsiteX2" fmla="*/ 15871524 w 15871524"/>
              <a:gd name="connsiteY2" fmla="*/ 1014663 h 1030705"/>
              <a:gd name="connsiteX3" fmla="*/ 5882 w 15871524"/>
              <a:gd name="connsiteY3" fmla="*/ 1030705 h 1030705"/>
              <a:gd name="connsiteX4" fmla="*/ 0 w 15871524"/>
              <a:gd name="connsiteY4" fmla="*/ 1604 h 1030705"/>
              <a:gd name="connsiteX0" fmla="*/ 4583 w 15876107"/>
              <a:gd name="connsiteY0" fmla="*/ 1604 h 1020545"/>
              <a:gd name="connsiteX1" fmla="*/ 15090044 w 15876107"/>
              <a:gd name="connsiteY1" fmla="*/ 0 h 1020545"/>
              <a:gd name="connsiteX2" fmla="*/ 15876107 w 15876107"/>
              <a:gd name="connsiteY2" fmla="*/ 1014663 h 1020545"/>
              <a:gd name="connsiteX3" fmla="*/ 305 w 15876107"/>
              <a:gd name="connsiteY3" fmla="*/ 1020545 h 1020545"/>
              <a:gd name="connsiteX4" fmla="*/ 4583 w 15876107"/>
              <a:gd name="connsiteY4" fmla="*/ 1604 h 1020545"/>
              <a:gd name="connsiteX0" fmla="*/ 5284838 w 15875803"/>
              <a:gd name="connsiteY0" fmla="*/ 0 h 1029101"/>
              <a:gd name="connsiteX1" fmla="*/ 15089740 w 15875803"/>
              <a:gd name="connsiteY1" fmla="*/ 8556 h 1029101"/>
              <a:gd name="connsiteX2" fmla="*/ 15875803 w 15875803"/>
              <a:gd name="connsiteY2" fmla="*/ 1023219 h 1029101"/>
              <a:gd name="connsiteX3" fmla="*/ 1 w 15875803"/>
              <a:gd name="connsiteY3" fmla="*/ 1029101 h 1029101"/>
              <a:gd name="connsiteX4" fmla="*/ 5284838 w 15875803"/>
              <a:gd name="connsiteY4" fmla="*/ 0 h 1029101"/>
              <a:gd name="connsiteX0" fmla="*/ 0 w 10590965"/>
              <a:gd name="connsiteY0" fmla="*/ 0 h 1039261"/>
              <a:gd name="connsiteX1" fmla="*/ 9804902 w 10590965"/>
              <a:gd name="connsiteY1" fmla="*/ 8556 h 1039261"/>
              <a:gd name="connsiteX2" fmla="*/ 10590965 w 10590965"/>
              <a:gd name="connsiteY2" fmla="*/ 1023219 h 1039261"/>
              <a:gd name="connsiteX3" fmla="*/ 17231 w 10590965"/>
              <a:gd name="connsiteY3" fmla="*/ 1039261 h 1039261"/>
              <a:gd name="connsiteX4" fmla="*/ 0 w 10590965"/>
              <a:gd name="connsiteY4" fmla="*/ 0 h 1039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90965" h="1039261">
                <a:moveTo>
                  <a:pt x="0" y="0"/>
                </a:moveTo>
                <a:lnTo>
                  <a:pt x="9804902" y="8556"/>
                </a:lnTo>
                <a:lnTo>
                  <a:pt x="10590965" y="1023219"/>
                </a:lnTo>
                <a:lnTo>
                  <a:pt x="17231" y="1039261"/>
                </a:lnTo>
                <a:cubicBezTo>
                  <a:pt x="15270" y="696227"/>
                  <a:pt x="1961" y="343034"/>
                  <a:pt x="0" y="0"/>
                </a:cubicBez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539A5BC-98BF-AF79-531E-987CAC662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358" y="1404576"/>
            <a:ext cx="11720636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divider title styl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BC85E638-AA26-FF6B-5C9E-F6D82F10B8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358" y="2515658"/>
            <a:ext cx="11720636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6F18CE-76A8-5A5C-2DF2-D998FFC50FDE}"/>
              </a:ext>
            </a:extLst>
          </p:cNvPr>
          <p:cNvSpPr txBox="1"/>
          <p:nvPr userDrawn="1"/>
        </p:nvSpPr>
        <p:spPr>
          <a:xfrm>
            <a:off x="437453" y="6673805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1748785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FD940-F42D-CAC3-B067-9E8F14934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B50A1A-59CB-CAED-A52A-23D1E5DE9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919" y="1179321"/>
            <a:ext cx="11493377" cy="2687124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809178F-84AE-E055-8590-2FB02A0165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4487334"/>
            <a:ext cx="12192000" cy="2370667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08F881-765D-4D27-2BCB-DD22739D672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4341820"/>
            <a:ext cx="12192000" cy="291028"/>
          </a:xfrm>
          <a:solidFill>
            <a:srgbClr val="6FC055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1785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D6ED2-965F-4DE5-AB26-5C8E72297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7C2887F-627D-9127-D20F-0327E5AFA9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6" y="1178477"/>
            <a:ext cx="5335693" cy="43515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90BF1DC1-4ABB-3798-EB3C-20188D909F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69579" y="1178477"/>
            <a:ext cx="5335693" cy="43515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93451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1956" y="3963629"/>
            <a:ext cx="5329294" cy="231166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1956" y="3532818"/>
            <a:ext cx="532929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9048" y="3963630"/>
            <a:ext cx="5329294" cy="231166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9048" y="3532818"/>
            <a:ext cx="532929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554B499-6A0E-983E-4C2D-3A59608FC6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1107440"/>
            <a:ext cx="12192000" cy="2073732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A54D110-CB96-8FA0-B0DF-EA1BF71B2B4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2894370"/>
            <a:ext cx="12192000" cy="291028"/>
          </a:xfrm>
          <a:solidFill>
            <a:srgbClr val="6FC055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8817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368" y="411745"/>
            <a:ext cx="2075676" cy="79567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A4194E23-E1E8-06DC-E76A-FD6A20B220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038" y="1838794"/>
            <a:ext cx="2075676" cy="795676"/>
          </a:xfrm>
          <a:prstGeom prst="rect">
            <a:avLst/>
          </a:prstGeom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6294071E-C5CA-FDAC-7D53-4C2C4236C8D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tTriangle">
            <a:avLst/>
          </a:pr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8DB7ABFB-9BD2-74E3-89A3-8A2FA3DB66DC}"/>
              </a:ext>
            </a:extLst>
          </p:cNvPr>
          <p:cNvSpPr/>
          <p:nvPr userDrawn="1"/>
        </p:nvSpPr>
        <p:spPr>
          <a:xfrm flipV="1">
            <a:off x="0" y="0"/>
            <a:ext cx="6001047" cy="6858000"/>
          </a:xfrm>
          <a:prstGeom prst="rtTriangle">
            <a:avLst/>
          </a:pr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9" name="Parallelogram 13">
            <a:extLst>
              <a:ext uri="{FF2B5EF4-FFF2-40B4-BE49-F238E27FC236}">
                <a16:creationId xmlns:a16="http://schemas.microsoft.com/office/drawing/2014/main" id="{AA83A1DE-A177-2229-CF0D-9EAACECE2129}"/>
              </a:ext>
            </a:extLst>
          </p:cNvPr>
          <p:cNvSpPr/>
          <p:nvPr userDrawn="1"/>
        </p:nvSpPr>
        <p:spPr>
          <a:xfrm rot="2075180">
            <a:off x="1644788" y="1575846"/>
            <a:ext cx="2650177" cy="6620191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34199 w 4770319"/>
              <a:gd name="connsiteY3" fmla="*/ 8914194 h 11834458"/>
              <a:gd name="connsiteX4" fmla="*/ 0 w 4770319"/>
              <a:gd name="connsiteY4" fmla="*/ 11834458 h 11834458"/>
              <a:gd name="connsiteX0" fmla="*/ 0 w 4770319"/>
              <a:gd name="connsiteY0" fmla="*/ 11893133 h 11893133"/>
              <a:gd name="connsiteX1" fmla="*/ 1395908 w 4770319"/>
              <a:gd name="connsiteY1" fmla="*/ 0 h 11893133"/>
              <a:gd name="connsiteX2" fmla="*/ 4770319 w 4770319"/>
              <a:gd name="connsiteY2" fmla="*/ 4626322 h 11893133"/>
              <a:gd name="connsiteX3" fmla="*/ 4234199 w 4770319"/>
              <a:gd name="connsiteY3" fmla="*/ 8972869 h 11893133"/>
              <a:gd name="connsiteX4" fmla="*/ 0 w 4770319"/>
              <a:gd name="connsiteY4" fmla="*/ 11893133 h 11893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0319" h="11893133">
                <a:moveTo>
                  <a:pt x="0" y="11893133"/>
                </a:moveTo>
                <a:lnTo>
                  <a:pt x="1395908" y="0"/>
                </a:lnTo>
                <a:lnTo>
                  <a:pt x="4770319" y="4626322"/>
                </a:lnTo>
                <a:lnTo>
                  <a:pt x="4234199" y="8972869"/>
                </a:lnTo>
                <a:lnTo>
                  <a:pt x="0" y="11893133"/>
                </a:lnTo>
                <a:close/>
              </a:path>
            </a:pathLst>
          </a:custGeom>
          <a:solidFill>
            <a:srgbClr val="3F8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20" name="Parallelogram 13">
            <a:extLst>
              <a:ext uri="{FF2B5EF4-FFF2-40B4-BE49-F238E27FC236}">
                <a16:creationId xmlns:a16="http://schemas.microsoft.com/office/drawing/2014/main" id="{7430E73B-7E61-9563-00F8-7361AA6E6FEA}"/>
              </a:ext>
            </a:extLst>
          </p:cNvPr>
          <p:cNvSpPr/>
          <p:nvPr userDrawn="1"/>
        </p:nvSpPr>
        <p:spPr>
          <a:xfrm rot="8425880" flipH="1">
            <a:off x="1880626" y="-1526286"/>
            <a:ext cx="2342986" cy="6747415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230214 w 3758701"/>
              <a:gd name="connsiteY3" fmla="*/ 8925289 h 12193226"/>
              <a:gd name="connsiteX4" fmla="*/ 0 w 3758701"/>
              <a:gd name="connsiteY4" fmla="*/ 12193226 h 12193226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382557 w 3758701"/>
              <a:gd name="connsiteY3" fmla="*/ 9197087 h 12193226"/>
              <a:gd name="connsiteX4" fmla="*/ 0 w 3758701"/>
              <a:gd name="connsiteY4" fmla="*/ 12193226 h 12193226"/>
              <a:gd name="connsiteX0" fmla="*/ 0 w 3758701"/>
              <a:gd name="connsiteY0" fmla="*/ 11937534 h 11937534"/>
              <a:gd name="connsiteX1" fmla="*/ 434410 w 3758701"/>
              <a:gd name="connsiteY1" fmla="*/ 0 h 11937534"/>
              <a:gd name="connsiteX2" fmla="*/ 3758701 w 3758701"/>
              <a:gd name="connsiteY2" fmla="*/ 4311955 h 11937534"/>
              <a:gd name="connsiteX3" fmla="*/ 3382557 w 3758701"/>
              <a:gd name="connsiteY3" fmla="*/ 8941395 h 11937534"/>
              <a:gd name="connsiteX4" fmla="*/ 0 w 3758701"/>
              <a:gd name="connsiteY4" fmla="*/ 11937534 h 11937534"/>
              <a:gd name="connsiteX0" fmla="*/ 0 w 3758701"/>
              <a:gd name="connsiteY0" fmla="*/ 12147583 h 12147583"/>
              <a:gd name="connsiteX1" fmla="*/ 435222 w 3758701"/>
              <a:gd name="connsiteY1" fmla="*/ 0 h 12147583"/>
              <a:gd name="connsiteX2" fmla="*/ 3758701 w 3758701"/>
              <a:gd name="connsiteY2" fmla="*/ 4522004 h 12147583"/>
              <a:gd name="connsiteX3" fmla="*/ 3382557 w 3758701"/>
              <a:gd name="connsiteY3" fmla="*/ 9151444 h 12147583"/>
              <a:gd name="connsiteX4" fmla="*/ 0 w 3758701"/>
              <a:gd name="connsiteY4" fmla="*/ 12147583 h 12147583"/>
              <a:gd name="connsiteX0" fmla="*/ 0 w 3718247"/>
              <a:gd name="connsiteY0" fmla="*/ 12094610 h 12094610"/>
              <a:gd name="connsiteX1" fmla="*/ 394768 w 3718247"/>
              <a:gd name="connsiteY1" fmla="*/ 0 h 12094610"/>
              <a:gd name="connsiteX2" fmla="*/ 3718247 w 3718247"/>
              <a:gd name="connsiteY2" fmla="*/ 4522004 h 12094610"/>
              <a:gd name="connsiteX3" fmla="*/ 3342103 w 3718247"/>
              <a:gd name="connsiteY3" fmla="*/ 9151444 h 12094610"/>
              <a:gd name="connsiteX4" fmla="*/ 0 w 3718247"/>
              <a:gd name="connsiteY4" fmla="*/ 12094610 h 12094610"/>
              <a:gd name="connsiteX0" fmla="*/ 0 w 3734266"/>
              <a:gd name="connsiteY0" fmla="*/ 12094610 h 12094610"/>
              <a:gd name="connsiteX1" fmla="*/ 394768 w 3734266"/>
              <a:gd name="connsiteY1" fmla="*/ 0 h 12094610"/>
              <a:gd name="connsiteX2" fmla="*/ 3734266 w 3734266"/>
              <a:gd name="connsiteY2" fmla="*/ 4542648 h 12094610"/>
              <a:gd name="connsiteX3" fmla="*/ 3342103 w 3734266"/>
              <a:gd name="connsiteY3" fmla="*/ 9151444 h 12094610"/>
              <a:gd name="connsiteX4" fmla="*/ 0 w 3734266"/>
              <a:gd name="connsiteY4" fmla="*/ 12094610 h 12094610"/>
              <a:gd name="connsiteX0" fmla="*/ 0 w 3756611"/>
              <a:gd name="connsiteY0" fmla="*/ 12094610 h 12094610"/>
              <a:gd name="connsiteX1" fmla="*/ 394768 w 3756611"/>
              <a:gd name="connsiteY1" fmla="*/ 0 h 12094610"/>
              <a:gd name="connsiteX2" fmla="*/ 3756611 w 3756611"/>
              <a:gd name="connsiteY2" fmla="*/ 4592468 h 12094610"/>
              <a:gd name="connsiteX3" fmla="*/ 3342103 w 3756611"/>
              <a:gd name="connsiteY3" fmla="*/ 9151444 h 12094610"/>
              <a:gd name="connsiteX4" fmla="*/ 0 w 3756611"/>
              <a:gd name="connsiteY4" fmla="*/ 12094610 h 12094610"/>
              <a:gd name="connsiteX0" fmla="*/ 0 w 3764149"/>
              <a:gd name="connsiteY0" fmla="*/ 12094610 h 12094610"/>
              <a:gd name="connsiteX1" fmla="*/ 394768 w 3764149"/>
              <a:gd name="connsiteY1" fmla="*/ 0 h 12094610"/>
              <a:gd name="connsiteX2" fmla="*/ 3764149 w 3764149"/>
              <a:gd name="connsiteY2" fmla="*/ 4559190 h 12094610"/>
              <a:gd name="connsiteX3" fmla="*/ 3342103 w 3764149"/>
              <a:gd name="connsiteY3" fmla="*/ 9151444 h 12094610"/>
              <a:gd name="connsiteX4" fmla="*/ 0 w 3764149"/>
              <a:gd name="connsiteY4" fmla="*/ 12094610 h 12094610"/>
              <a:gd name="connsiteX0" fmla="*/ 0 w 3769966"/>
              <a:gd name="connsiteY0" fmla="*/ 12094610 h 12094610"/>
              <a:gd name="connsiteX1" fmla="*/ 394768 w 3769966"/>
              <a:gd name="connsiteY1" fmla="*/ 0 h 12094610"/>
              <a:gd name="connsiteX2" fmla="*/ 3769966 w 3769966"/>
              <a:gd name="connsiteY2" fmla="*/ 4545190 h 12094610"/>
              <a:gd name="connsiteX3" fmla="*/ 3342103 w 3769966"/>
              <a:gd name="connsiteY3" fmla="*/ 9151444 h 12094610"/>
              <a:gd name="connsiteX4" fmla="*/ 0 w 3769966"/>
              <a:gd name="connsiteY4" fmla="*/ 12094610 h 12094610"/>
              <a:gd name="connsiteX0" fmla="*/ 0 w 3824271"/>
              <a:gd name="connsiteY0" fmla="*/ 12094610 h 12094610"/>
              <a:gd name="connsiteX1" fmla="*/ 394768 w 3824271"/>
              <a:gd name="connsiteY1" fmla="*/ 0 h 12094610"/>
              <a:gd name="connsiteX2" fmla="*/ 3824271 w 3824271"/>
              <a:gd name="connsiteY2" fmla="*/ 4550687 h 12094610"/>
              <a:gd name="connsiteX3" fmla="*/ 3342103 w 3824271"/>
              <a:gd name="connsiteY3" fmla="*/ 9151444 h 12094610"/>
              <a:gd name="connsiteX4" fmla="*/ 0 w 3824271"/>
              <a:gd name="connsiteY4" fmla="*/ 12094610 h 12094610"/>
              <a:gd name="connsiteX0" fmla="*/ 0 w 3926781"/>
              <a:gd name="connsiteY0" fmla="*/ 12094610 h 12094610"/>
              <a:gd name="connsiteX1" fmla="*/ 394768 w 3926781"/>
              <a:gd name="connsiteY1" fmla="*/ 0 h 12094610"/>
              <a:gd name="connsiteX2" fmla="*/ 3926781 w 3926781"/>
              <a:gd name="connsiteY2" fmla="*/ 4566893 h 12094610"/>
              <a:gd name="connsiteX3" fmla="*/ 3342103 w 3926781"/>
              <a:gd name="connsiteY3" fmla="*/ 9151444 h 12094610"/>
              <a:gd name="connsiteX4" fmla="*/ 0 w 3926781"/>
              <a:gd name="connsiteY4" fmla="*/ 12094610 h 12094610"/>
              <a:gd name="connsiteX0" fmla="*/ 0 w 3952346"/>
              <a:gd name="connsiteY0" fmla="*/ 12094610 h 12094610"/>
              <a:gd name="connsiteX1" fmla="*/ 394768 w 3952346"/>
              <a:gd name="connsiteY1" fmla="*/ 0 h 12094610"/>
              <a:gd name="connsiteX2" fmla="*/ 3952346 w 3952346"/>
              <a:gd name="connsiteY2" fmla="*/ 4586962 h 12094610"/>
              <a:gd name="connsiteX3" fmla="*/ 3342103 w 3952346"/>
              <a:gd name="connsiteY3" fmla="*/ 9151444 h 12094610"/>
              <a:gd name="connsiteX4" fmla="*/ 0 w 3952346"/>
              <a:gd name="connsiteY4" fmla="*/ 12094610 h 12094610"/>
              <a:gd name="connsiteX0" fmla="*/ 0 w 3943563"/>
              <a:gd name="connsiteY0" fmla="*/ 12094610 h 12094610"/>
              <a:gd name="connsiteX1" fmla="*/ 394768 w 3943563"/>
              <a:gd name="connsiteY1" fmla="*/ 0 h 12094610"/>
              <a:gd name="connsiteX2" fmla="*/ 3943563 w 3943563"/>
              <a:gd name="connsiteY2" fmla="*/ 4562765 h 12094610"/>
              <a:gd name="connsiteX3" fmla="*/ 3342103 w 3943563"/>
              <a:gd name="connsiteY3" fmla="*/ 9151444 h 12094610"/>
              <a:gd name="connsiteX4" fmla="*/ 0 w 3943563"/>
              <a:gd name="connsiteY4" fmla="*/ 12094610 h 12094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3563" h="12094610">
                <a:moveTo>
                  <a:pt x="0" y="12094610"/>
                </a:moveTo>
                <a:lnTo>
                  <a:pt x="394768" y="0"/>
                </a:lnTo>
                <a:lnTo>
                  <a:pt x="3943563" y="4562765"/>
                </a:lnTo>
                <a:lnTo>
                  <a:pt x="3342103" y="9151444"/>
                </a:lnTo>
                <a:lnTo>
                  <a:pt x="0" y="12094610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F609907-463B-85C2-4B58-6F291C246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449" y="2640652"/>
            <a:ext cx="7590551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E7A7985B-0BC8-42D9-7D8F-1B6803B564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1449" y="3769448"/>
            <a:ext cx="7590550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502EAB-171A-2C0A-9AF3-4562F2BBD795}"/>
              </a:ext>
            </a:extLst>
          </p:cNvPr>
          <p:cNvSpPr txBox="1"/>
          <p:nvPr userDrawn="1"/>
        </p:nvSpPr>
        <p:spPr>
          <a:xfrm>
            <a:off x="5779477" y="6645648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39274998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2577" y="1726473"/>
            <a:ext cx="3429000" cy="4451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three column layout is not only a visually pleasing layout, it’s also super flexible. You can vary the type of content in each column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8364" y="1295662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17988" y="1726472"/>
            <a:ext cx="3429000" cy="4451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beauty of using the three column layout is that it helps the brain quickly organize the information on the slide.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776" y="1295662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721112"/>
            <a:ext cx="3429000" cy="4451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But don’t limit yourself to this particular look.  Each column could consist of a simple combination of image and text or several stacked images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3400" y="1290302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6635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1553787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1B3347C-B66F-AAFF-1922-A64CF9AA21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4777067"/>
            <a:ext cx="3721165" cy="799471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BA0C12-D4ED-79F5-43C7-E67D7D44F7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4346257"/>
            <a:ext cx="37211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3CA6BD6-ECF4-B8F3-C28F-E706FB44AA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5418" y="4777068"/>
            <a:ext cx="3721165" cy="799471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82A8A34-85A6-BED8-E048-37343D0EF6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5418" y="4346257"/>
            <a:ext cx="37211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A4EF822-F5C2-6916-B483-4ED95A0E0F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46953" y="4777068"/>
            <a:ext cx="3721165" cy="799471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4765C8C-5656-6EFA-DB52-2BC304FAB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6953" y="4346257"/>
            <a:ext cx="37211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5A10CE6-5DDB-E2D7-0AF8-5F5BC8748D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8471F3E-1C7E-CB26-ABC2-793872AB6B44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4800" y="2518824"/>
            <a:ext cx="3721165" cy="182743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E75A07D7-8199-C0BB-E17B-E9AFF90F959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35418" y="2518824"/>
            <a:ext cx="3721165" cy="182743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CD58101-9110-7C20-2118-CC9848409B5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46952" y="2511743"/>
            <a:ext cx="3721165" cy="182743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56078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00A32643-EEB1-2D89-5738-EEDD915526F4}"/>
              </a:ext>
            </a:extLst>
          </p:cNvPr>
          <p:cNvSpPr/>
          <p:nvPr userDrawn="1"/>
        </p:nvSpPr>
        <p:spPr>
          <a:xfrm>
            <a:off x="0" y="5310909"/>
            <a:ext cx="4371879" cy="715818"/>
          </a:xfrm>
          <a:prstGeom prst="rect">
            <a:avLst/>
          </a:pr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4938" y="1671091"/>
            <a:ext cx="5997425" cy="4002831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1AA3747-5135-D390-B435-3D2EFABF6A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21538" y="2199509"/>
            <a:ext cx="4925524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 or small bulleted list. 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4AD70E9-645B-3A59-4708-36841218C4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21539" y="1671091"/>
            <a:ext cx="492552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34101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B23DE9B-2D67-7D19-89D5-847CF4F5CBED}"/>
              </a:ext>
            </a:extLst>
          </p:cNvPr>
          <p:cNvSpPr/>
          <p:nvPr userDrawn="1"/>
        </p:nvSpPr>
        <p:spPr>
          <a:xfrm>
            <a:off x="7286118" y="0"/>
            <a:ext cx="833919" cy="6859152"/>
          </a:xfrm>
          <a:prstGeom prst="rect">
            <a:avLst/>
          </a:pr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8F682FE-8342-4568-BD7E-8A298D03A4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93145" y="1698979"/>
            <a:ext cx="7826892" cy="486339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727842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30598" y="2085703"/>
            <a:ext cx="3556000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 or small bulleted list. 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56ADCE7-C5EC-4C71-AAA5-49530750D3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30598" y="1596572"/>
            <a:ext cx="3556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55260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3D6BF24-A924-3AF3-7DC3-FA9264A1C39D}"/>
              </a:ext>
            </a:extLst>
          </p:cNvPr>
          <p:cNvSpPr/>
          <p:nvPr userDrawn="1"/>
        </p:nvSpPr>
        <p:spPr>
          <a:xfrm>
            <a:off x="10639778" y="0"/>
            <a:ext cx="1552222" cy="1378123"/>
          </a:xfrm>
          <a:prstGeom prst="rect">
            <a:avLst/>
          </a:pr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8F682FE-8342-4568-BD7E-8A298D03A4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229810"/>
            <a:ext cx="5854096" cy="277119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5277479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1955" y="1893559"/>
            <a:ext cx="4925524" cy="1107440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 or small bulleted list. 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BB5EDC4-6C7F-B762-2D8B-4DF53C969B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956" y="1365141"/>
            <a:ext cx="492552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B431F94-3507-A44C-F51A-0DD9120432C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50857" y="4086861"/>
            <a:ext cx="2854477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. 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F3EC7EF-E3B5-6C0B-5F06-01553A19AE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50858" y="3558442"/>
            <a:ext cx="2854477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52E4DE5-1B22-566B-942D-6BDABF92B6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9465" y="4086861"/>
            <a:ext cx="2854477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93BDD8D-5811-1A55-C57A-0D56BD3022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89465" y="3558442"/>
            <a:ext cx="2854477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6D4B4AD-22C5-E8E9-AD53-7CCC73A8D82E}"/>
              </a:ext>
            </a:extLst>
          </p:cNvPr>
          <p:cNvSpPr/>
          <p:nvPr userDrawn="1"/>
        </p:nvSpPr>
        <p:spPr>
          <a:xfrm>
            <a:off x="6096000" y="3248405"/>
            <a:ext cx="1717524" cy="95931"/>
          </a:xfrm>
          <a:prstGeom prst="rect">
            <a:avLst/>
          </a:prstGeom>
          <a:solidFill>
            <a:srgbClr val="6FC055"/>
          </a:solidFill>
          <a:ln>
            <a:solidFill>
              <a:srgbClr val="6FC0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11697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Slide Righ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E5AB0757-CB63-E991-5511-DEB39AC992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1999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l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83F7D21-E9FA-7AD6-0056-3166BF0F375E}"/>
              </a:ext>
            </a:extLst>
          </p:cNvPr>
          <p:cNvSpPr txBox="1">
            <a:spLocks/>
          </p:cNvSpPr>
          <p:nvPr userDrawn="1"/>
        </p:nvSpPr>
        <p:spPr>
          <a:xfrm>
            <a:off x="7011939" y="213652"/>
            <a:ext cx="4956848" cy="730700"/>
          </a:xfrm>
          <a:prstGeom prst="rect">
            <a:avLst/>
          </a:prstGeom>
          <a:solidFill>
            <a:srgbClr val="017AC3">
              <a:alpha val="80000"/>
            </a:srgbClr>
          </a:solidFill>
        </p:spPr>
        <p:txBody>
          <a:bodyPr vert="horz" lIns="101600" tIns="0" rIns="101600" bIns="0" rtlCol="0" anchor="ctr" anchorCtr="0">
            <a:noAutofit/>
          </a:bodyPr>
          <a:lstStyle>
            <a:lvl1pPr marL="0" algn="l" defTabSz="164592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960" b="0" i="0" kern="1200" cap="none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sz="2200" b="0" i="0" dirty="0">
                <a:latin typeface="Roboto" panose="02000000000000000000" pitchFamily="2" charset="0"/>
                <a:ea typeface="Roboto" panose="02000000000000000000" pitchFamily="2" charset="0"/>
              </a:rPr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1D95D3A-3F6C-A3D8-E383-296C072A59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11940" y="945959"/>
            <a:ext cx="4956848" cy="5698389"/>
          </a:xfrm>
          <a:prstGeom prst="rect">
            <a:avLst/>
          </a:prstGeom>
          <a:solidFill>
            <a:srgbClr val="017AC3">
              <a:alpha val="80000"/>
            </a:srgbClr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77919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Slide Lef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D5506261-B7BD-E16A-CFDA-3724382C73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1999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4183C213-3596-26B1-4B1B-370A4C810803}"/>
              </a:ext>
            </a:extLst>
          </p:cNvPr>
          <p:cNvSpPr txBox="1">
            <a:spLocks/>
          </p:cNvSpPr>
          <p:nvPr userDrawn="1"/>
        </p:nvSpPr>
        <p:spPr>
          <a:xfrm>
            <a:off x="223212" y="236743"/>
            <a:ext cx="4956848" cy="730700"/>
          </a:xfrm>
          <a:prstGeom prst="rect">
            <a:avLst/>
          </a:prstGeom>
          <a:solidFill>
            <a:srgbClr val="007AC3">
              <a:alpha val="80000"/>
            </a:srgbClr>
          </a:solidFill>
        </p:spPr>
        <p:txBody>
          <a:bodyPr vert="horz" lIns="101600" tIns="0" rIns="101600" bIns="0" rtlCol="0" anchor="ctr" anchorCtr="0">
            <a:noAutofit/>
          </a:bodyPr>
          <a:lstStyle>
            <a:lvl1pPr marL="0" algn="l" defTabSz="164592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960" b="0" i="0" kern="1200" cap="none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sz="2200" b="0" i="0" dirty="0">
                <a:latin typeface="Roboto" panose="02000000000000000000" pitchFamily="2" charset="0"/>
                <a:ea typeface="Roboto" panose="02000000000000000000" pitchFamily="2" charset="0"/>
              </a:rPr>
              <a:t>Click to edit Master title style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09792919-B486-0EFB-BE16-FF0234CB9B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3213" y="969051"/>
            <a:ext cx="4956848" cy="5698389"/>
          </a:xfrm>
          <a:prstGeom prst="rect">
            <a:avLst/>
          </a:prstGeom>
          <a:solidFill>
            <a:srgbClr val="007AC3">
              <a:alpha val="80000"/>
            </a:srgbClr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7911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CEA4B-7294-465E-9AD5-3A631CA5D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09573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8D9E0D2-526C-4B5F-A1EF-B11DD1800A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6024" y="1146951"/>
            <a:ext cx="7527176" cy="5191760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This is a great location if you have longer form content.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36AF541-6691-0F2A-3AD0-BAF0CF57B3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136293" y="5839"/>
            <a:ext cx="2055707" cy="6858000"/>
          </a:xfrm>
          <a:solidFill>
            <a:srgbClr val="007AC3"/>
          </a:solidFill>
        </p:spPr>
        <p:txBody>
          <a:bodyPr tIns="0" bIns="0" anchor="ctr"/>
          <a:lstStyle>
            <a:lvl1pPr algn="ctr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7FF068-7F0D-0FC5-1C3B-8121D84B2D5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49920" y="1529086"/>
            <a:ext cx="3765973" cy="372682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50178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CEA4B-7294-465E-9AD5-3A631CA5D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8D9E0D2-526C-4B5F-A1EF-B11DD1800A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8027" y="1149338"/>
            <a:ext cx="1150112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2000"/>
            </a:lvl1pPr>
          </a:lstStyle>
          <a:p>
            <a:pPr lvl="0"/>
            <a:r>
              <a:rPr lang="en-US" dirty="0"/>
              <a:t>This layout is great if you have a short amount of copy to cover but want to include visual interest.  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357B00-F353-89E3-CAD0-1B1290AF282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542453"/>
            <a:ext cx="12192000" cy="3315547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4393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9E3BC-84C4-453A-BFBE-C44B09631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449" y="2640652"/>
            <a:ext cx="7590551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038" y="1838794"/>
            <a:ext cx="2075676" cy="79567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286A1C8-E01B-D593-3A9D-1507714E9E9F}"/>
              </a:ext>
            </a:extLst>
          </p:cNvPr>
          <p:cNvGrpSpPr/>
          <p:nvPr userDrawn="1"/>
        </p:nvGrpSpPr>
        <p:grpSpPr>
          <a:xfrm>
            <a:off x="-2421431" y="-1526286"/>
            <a:ext cx="8517431" cy="9722323"/>
            <a:chOff x="-4358576" y="-2747315"/>
            <a:chExt cx="15331376" cy="17500182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5B859243-D91C-C69C-7C59-96B7AF36802D}"/>
                </a:ext>
              </a:extLst>
            </p:cNvPr>
            <p:cNvSpPr/>
            <p:nvPr userDrawn="1"/>
          </p:nvSpPr>
          <p:spPr>
            <a:xfrm>
              <a:off x="0" y="0"/>
              <a:ext cx="10972800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61819916-F4F5-413C-1547-88C0581C5550}"/>
                </a:ext>
              </a:extLst>
            </p:cNvPr>
            <p:cNvSpPr/>
            <p:nvPr userDrawn="1"/>
          </p:nvSpPr>
          <p:spPr>
            <a:xfrm flipV="1">
              <a:off x="0" y="0"/>
              <a:ext cx="10801884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1C9F753C-1C13-2C5B-652F-8AC756B49A53}"/>
                </a:ext>
              </a:extLst>
            </p:cNvPr>
            <p:cNvSpPr/>
            <p:nvPr userDrawn="1"/>
          </p:nvSpPr>
          <p:spPr>
            <a:xfrm rot="13487843">
              <a:off x="-4358576" y="1794390"/>
              <a:ext cx="8703081" cy="875562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71BF2B95-4D31-7B32-6A93-0373476AE4F0}"/>
                </a:ext>
              </a:extLst>
            </p:cNvPr>
            <p:cNvSpPr/>
            <p:nvPr userDrawn="1"/>
          </p:nvSpPr>
          <p:spPr>
            <a:xfrm rot="2075180">
              <a:off x="2960618" y="2836523"/>
              <a:ext cx="4770319" cy="11916344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34199 w 4770319"/>
                <a:gd name="connsiteY3" fmla="*/ 8914194 h 11834458"/>
                <a:gd name="connsiteX4" fmla="*/ 0 w 4770319"/>
                <a:gd name="connsiteY4" fmla="*/ 11834458 h 11834458"/>
                <a:gd name="connsiteX0" fmla="*/ 0 w 4770319"/>
                <a:gd name="connsiteY0" fmla="*/ 11893133 h 11893133"/>
                <a:gd name="connsiteX1" fmla="*/ 1395908 w 4770319"/>
                <a:gd name="connsiteY1" fmla="*/ 0 h 11893133"/>
                <a:gd name="connsiteX2" fmla="*/ 4770319 w 4770319"/>
                <a:gd name="connsiteY2" fmla="*/ 4626322 h 11893133"/>
                <a:gd name="connsiteX3" fmla="*/ 4234199 w 4770319"/>
                <a:gd name="connsiteY3" fmla="*/ 8972869 h 11893133"/>
                <a:gd name="connsiteX4" fmla="*/ 0 w 4770319"/>
                <a:gd name="connsiteY4" fmla="*/ 11893133 h 1189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70319" h="11893133">
                  <a:moveTo>
                    <a:pt x="0" y="11893133"/>
                  </a:moveTo>
                  <a:lnTo>
                    <a:pt x="1395908" y="0"/>
                  </a:lnTo>
                  <a:lnTo>
                    <a:pt x="4770319" y="4626322"/>
                  </a:lnTo>
                  <a:lnTo>
                    <a:pt x="4234199" y="8972869"/>
                  </a:lnTo>
                  <a:lnTo>
                    <a:pt x="0" y="11893133"/>
                  </a:lnTo>
                  <a:close/>
                </a:path>
              </a:pathLst>
            </a:custGeom>
            <a:solidFill>
              <a:srgbClr val="3F8D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5" name="Parallelogram 13">
              <a:extLst>
                <a:ext uri="{FF2B5EF4-FFF2-40B4-BE49-F238E27FC236}">
                  <a16:creationId xmlns:a16="http://schemas.microsoft.com/office/drawing/2014/main" id="{F95D21D0-C1F7-8B2E-A198-138266299AE2}"/>
                </a:ext>
              </a:extLst>
            </p:cNvPr>
            <p:cNvSpPr/>
            <p:nvPr userDrawn="1"/>
          </p:nvSpPr>
          <p:spPr>
            <a:xfrm rot="8425880" flipH="1">
              <a:off x="3385128" y="-2747315"/>
              <a:ext cx="4217374" cy="12145347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230214 w 3758701"/>
                <a:gd name="connsiteY3" fmla="*/ 8925289 h 12193226"/>
                <a:gd name="connsiteX4" fmla="*/ 0 w 3758701"/>
                <a:gd name="connsiteY4" fmla="*/ 12193226 h 12193226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382557 w 3758701"/>
                <a:gd name="connsiteY3" fmla="*/ 9197087 h 12193226"/>
                <a:gd name="connsiteX4" fmla="*/ 0 w 3758701"/>
                <a:gd name="connsiteY4" fmla="*/ 12193226 h 12193226"/>
                <a:gd name="connsiteX0" fmla="*/ 0 w 3758701"/>
                <a:gd name="connsiteY0" fmla="*/ 11937534 h 11937534"/>
                <a:gd name="connsiteX1" fmla="*/ 434410 w 3758701"/>
                <a:gd name="connsiteY1" fmla="*/ 0 h 11937534"/>
                <a:gd name="connsiteX2" fmla="*/ 3758701 w 3758701"/>
                <a:gd name="connsiteY2" fmla="*/ 4311955 h 11937534"/>
                <a:gd name="connsiteX3" fmla="*/ 3382557 w 3758701"/>
                <a:gd name="connsiteY3" fmla="*/ 8941395 h 11937534"/>
                <a:gd name="connsiteX4" fmla="*/ 0 w 3758701"/>
                <a:gd name="connsiteY4" fmla="*/ 11937534 h 11937534"/>
                <a:gd name="connsiteX0" fmla="*/ 0 w 3758701"/>
                <a:gd name="connsiteY0" fmla="*/ 12147583 h 12147583"/>
                <a:gd name="connsiteX1" fmla="*/ 435222 w 3758701"/>
                <a:gd name="connsiteY1" fmla="*/ 0 h 12147583"/>
                <a:gd name="connsiteX2" fmla="*/ 3758701 w 3758701"/>
                <a:gd name="connsiteY2" fmla="*/ 4522004 h 12147583"/>
                <a:gd name="connsiteX3" fmla="*/ 3382557 w 3758701"/>
                <a:gd name="connsiteY3" fmla="*/ 9151444 h 12147583"/>
                <a:gd name="connsiteX4" fmla="*/ 0 w 3758701"/>
                <a:gd name="connsiteY4" fmla="*/ 12147583 h 12147583"/>
                <a:gd name="connsiteX0" fmla="*/ 0 w 3718247"/>
                <a:gd name="connsiteY0" fmla="*/ 12094610 h 12094610"/>
                <a:gd name="connsiteX1" fmla="*/ 394768 w 3718247"/>
                <a:gd name="connsiteY1" fmla="*/ 0 h 12094610"/>
                <a:gd name="connsiteX2" fmla="*/ 3718247 w 3718247"/>
                <a:gd name="connsiteY2" fmla="*/ 4522004 h 12094610"/>
                <a:gd name="connsiteX3" fmla="*/ 3342103 w 3718247"/>
                <a:gd name="connsiteY3" fmla="*/ 9151444 h 12094610"/>
                <a:gd name="connsiteX4" fmla="*/ 0 w 3718247"/>
                <a:gd name="connsiteY4" fmla="*/ 12094610 h 12094610"/>
                <a:gd name="connsiteX0" fmla="*/ 0 w 3734266"/>
                <a:gd name="connsiteY0" fmla="*/ 12094610 h 12094610"/>
                <a:gd name="connsiteX1" fmla="*/ 394768 w 3734266"/>
                <a:gd name="connsiteY1" fmla="*/ 0 h 12094610"/>
                <a:gd name="connsiteX2" fmla="*/ 3734266 w 3734266"/>
                <a:gd name="connsiteY2" fmla="*/ 4542648 h 12094610"/>
                <a:gd name="connsiteX3" fmla="*/ 3342103 w 3734266"/>
                <a:gd name="connsiteY3" fmla="*/ 9151444 h 12094610"/>
                <a:gd name="connsiteX4" fmla="*/ 0 w 3734266"/>
                <a:gd name="connsiteY4" fmla="*/ 12094610 h 12094610"/>
                <a:gd name="connsiteX0" fmla="*/ 0 w 3756611"/>
                <a:gd name="connsiteY0" fmla="*/ 12094610 h 12094610"/>
                <a:gd name="connsiteX1" fmla="*/ 394768 w 3756611"/>
                <a:gd name="connsiteY1" fmla="*/ 0 h 12094610"/>
                <a:gd name="connsiteX2" fmla="*/ 3756611 w 3756611"/>
                <a:gd name="connsiteY2" fmla="*/ 4592468 h 12094610"/>
                <a:gd name="connsiteX3" fmla="*/ 3342103 w 3756611"/>
                <a:gd name="connsiteY3" fmla="*/ 9151444 h 12094610"/>
                <a:gd name="connsiteX4" fmla="*/ 0 w 3756611"/>
                <a:gd name="connsiteY4" fmla="*/ 12094610 h 12094610"/>
                <a:gd name="connsiteX0" fmla="*/ 0 w 3764149"/>
                <a:gd name="connsiteY0" fmla="*/ 12094610 h 12094610"/>
                <a:gd name="connsiteX1" fmla="*/ 394768 w 3764149"/>
                <a:gd name="connsiteY1" fmla="*/ 0 h 12094610"/>
                <a:gd name="connsiteX2" fmla="*/ 3764149 w 3764149"/>
                <a:gd name="connsiteY2" fmla="*/ 4559190 h 12094610"/>
                <a:gd name="connsiteX3" fmla="*/ 3342103 w 3764149"/>
                <a:gd name="connsiteY3" fmla="*/ 9151444 h 12094610"/>
                <a:gd name="connsiteX4" fmla="*/ 0 w 3764149"/>
                <a:gd name="connsiteY4" fmla="*/ 12094610 h 12094610"/>
                <a:gd name="connsiteX0" fmla="*/ 0 w 3769966"/>
                <a:gd name="connsiteY0" fmla="*/ 12094610 h 12094610"/>
                <a:gd name="connsiteX1" fmla="*/ 394768 w 3769966"/>
                <a:gd name="connsiteY1" fmla="*/ 0 h 12094610"/>
                <a:gd name="connsiteX2" fmla="*/ 3769966 w 3769966"/>
                <a:gd name="connsiteY2" fmla="*/ 4545190 h 12094610"/>
                <a:gd name="connsiteX3" fmla="*/ 3342103 w 3769966"/>
                <a:gd name="connsiteY3" fmla="*/ 9151444 h 12094610"/>
                <a:gd name="connsiteX4" fmla="*/ 0 w 3769966"/>
                <a:gd name="connsiteY4" fmla="*/ 12094610 h 12094610"/>
                <a:gd name="connsiteX0" fmla="*/ 0 w 3824271"/>
                <a:gd name="connsiteY0" fmla="*/ 12094610 h 12094610"/>
                <a:gd name="connsiteX1" fmla="*/ 394768 w 3824271"/>
                <a:gd name="connsiteY1" fmla="*/ 0 h 12094610"/>
                <a:gd name="connsiteX2" fmla="*/ 3824271 w 3824271"/>
                <a:gd name="connsiteY2" fmla="*/ 4550687 h 12094610"/>
                <a:gd name="connsiteX3" fmla="*/ 3342103 w 3824271"/>
                <a:gd name="connsiteY3" fmla="*/ 9151444 h 12094610"/>
                <a:gd name="connsiteX4" fmla="*/ 0 w 3824271"/>
                <a:gd name="connsiteY4" fmla="*/ 12094610 h 12094610"/>
                <a:gd name="connsiteX0" fmla="*/ 0 w 3926781"/>
                <a:gd name="connsiteY0" fmla="*/ 12094610 h 12094610"/>
                <a:gd name="connsiteX1" fmla="*/ 394768 w 3926781"/>
                <a:gd name="connsiteY1" fmla="*/ 0 h 12094610"/>
                <a:gd name="connsiteX2" fmla="*/ 3926781 w 3926781"/>
                <a:gd name="connsiteY2" fmla="*/ 4566893 h 12094610"/>
                <a:gd name="connsiteX3" fmla="*/ 3342103 w 3926781"/>
                <a:gd name="connsiteY3" fmla="*/ 9151444 h 12094610"/>
                <a:gd name="connsiteX4" fmla="*/ 0 w 3926781"/>
                <a:gd name="connsiteY4" fmla="*/ 12094610 h 12094610"/>
                <a:gd name="connsiteX0" fmla="*/ 0 w 3952346"/>
                <a:gd name="connsiteY0" fmla="*/ 12094610 h 12094610"/>
                <a:gd name="connsiteX1" fmla="*/ 394768 w 3952346"/>
                <a:gd name="connsiteY1" fmla="*/ 0 h 12094610"/>
                <a:gd name="connsiteX2" fmla="*/ 3952346 w 3952346"/>
                <a:gd name="connsiteY2" fmla="*/ 4586962 h 12094610"/>
                <a:gd name="connsiteX3" fmla="*/ 3342103 w 3952346"/>
                <a:gd name="connsiteY3" fmla="*/ 9151444 h 12094610"/>
                <a:gd name="connsiteX4" fmla="*/ 0 w 3952346"/>
                <a:gd name="connsiteY4" fmla="*/ 12094610 h 12094610"/>
                <a:gd name="connsiteX0" fmla="*/ 0 w 3943563"/>
                <a:gd name="connsiteY0" fmla="*/ 12094610 h 12094610"/>
                <a:gd name="connsiteX1" fmla="*/ 394768 w 3943563"/>
                <a:gd name="connsiteY1" fmla="*/ 0 h 12094610"/>
                <a:gd name="connsiteX2" fmla="*/ 3943563 w 3943563"/>
                <a:gd name="connsiteY2" fmla="*/ 4562765 h 12094610"/>
                <a:gd name="connsiteX3" fmla="*/ 3342103 w 3943563"/>
                <a:gd name="connsiteY3" fmla="*/ 9151444 h 12094610"/>
                <a:gd name="connsiteX4" fmla="*/ 0 w 3943563"/>
                <a:gd name="connsiteY4" fmla="*/ 12094610 h 1209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563" h="12094610">
                  <a:moveTo>
                    <a:pt x="0" y="12094610"/>
                  </a:moveTo>
                  <a:lnTo>
                    <a:pt x="394768" y="0"/>
                  </a:lnTo>
                  <a:lnTo>
                    <a:pt x="3943563" y="4562765"/>
                  </a:lnTo>
                  <a:lnTo>
                    <a:pt x="3342103" y="9151444"/>
                  </a:lnTo>
                  <a:lnTo>
                    <a:pt x="0" y="12094610"/>
                  </a:lnTo>
                  <a:close/>
                </a:path>
              </a:pathLst>
            </a:custGeom>
            <a:solidFill>
              <a:srgbClr val="6FC0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9D7E75C-7FF4-B5DB-908B-43099D5D03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1449" y="3769448"/>
            <a:ext cx="7590550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87D1959B-7790-6734-ADF0-649D7C94C4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543" y="-5872"/>
            <a:ext cx="3066041" cy="6858000"/>
          </a:xfrm>
          <a:custGeom>
            <a:avLst/>
            <a:gdLst>
              <a:gd name="connsiteX0" fmla="*/ 0 w 5477256"/>
              <a:gd name="connsiteY0" fmla="*/ 0 h 12636923"/>
              <a:gd name="connsiteX1" fmla="*/ 5477256 w 5477256"/>
              <a:gd name="connsiteY1" fmla="*/ 0 h 12636923"/>
              <a:gd name="connsiteX2" fmla="*/ 5477256 w 5477256"/>
              <a:gd name="connsiteY2" fmla="*/ 12636923 h 12636923"/>
              <a:gd name="connsiteX3" fmla="*/ 0 w 5477256"/>
              <a:gd name="connsiteY3" fmla="*/ 12636923 h 12636923"/>
              <a:gd name="connsiteX4" fmla="*/ 0 w 5477256"/>
              <a:gd name="connsiteY4" fmla="*/ 0 h 12636923"/>
              <a:gd name="connsiteX0" fmla="*/ 0 w 5507736"/>
              <a:gd name="connsiteY0" fmla="*/ 0 h 12636923"/>
              <a:gd name="connsiteX1" fmla="*/ 5507736 w 5507736"/>
              <a:gd name="connsiteY1" fmla="*/ 6207760 h 12636923"/>
              <a:gd name="connsiteX2" fmla="*/ 5477256 w 5507736"/>
              <a:gd name="connsiteY2" fmla="*/ 12636923 h 12636923"/>
              <a:gd name="connsiteX3" fmla="*/ 0 w 5507736"/>
              <a:gd name="connsiteY3" fmla="*/ 12636923 h 12636923"/>
              <a:gd name="connsiteX4" fmla="*/ 0 w 5507736"/>
              <a:gd name="connsiteY4" fmla="*/ 0 h 12636923"/>
              <a:gd name="connsiteX0" fmla="*/ 0 w 5517896"/>
              <a:gd name="connsiteY0" fmla="*/ 0 h 12636923"/>
              <a:gd name="connsiteX1" fmla="*/ 5507736 w 5517896"/>
              <a:gd name="connsiteY1" fmla="*/ 6207760 h 12636923"/>
              <a:gd name="connsiteX2" fmla="*/ 5517896 w 5517896"/>
              <a:gd name="connsiteY2" fmla="*/ 6236123 h 12636923"/>
              <a:gd name="connsiteX3" fmla="*/ 0 w 5517896"/>
              <a:gd name="connsiteY3" fmla="*/ 12636923 h 12636923"/>
              <a:gd name="connsiteX4" fmla="*/ 0 w 5517896"/>
              <a:gd name="connsiteY4" fmla="*/ 0 h 12636923"/>
              <a:gd name="connsiteX0" fmla="*/ 0 w 5517896"/>
              <a:gd name="connsiteY0" fmla="*/ 0 h 12403243"/>
              <a:gd name="connsiteX1" fmla="*/ 5507736 w 5517896"/>
              <a:gd name="connsiteY1" fmla="*/ 6207760 h 12403243"/>
              <a:gd name="connsiteX2" fmla="*/ 5517896 w 5517896"/>
              <a:gd name="connsiteY2" fmla="*/ 6236123 h 12403243"/>
              <a:gd name="connsiteX3" fmla="*/ 0 w 5517896"/>
              <a:gd name="connsiteY3" fmla="*/ 12403243 h 12403243"/>
              <a:gd name="connsiteX4" fmla="*/ 0 w 5517896"/>
              <a:gd name="connsiteY4" fmla="*/ 0 h 12403243"/>
              <a:gd name="connsiteX0" fmla="*/ 0 w 5517896"/>
              <a:gd name="connsiteY0" fmla="*/ 0 h 12362603"/>
              <a:gd name="connsiteX1" fmla="*/ 5507736 w 5517896"/>
              <a:gd name="connsiteY1" fmla="*/ 6207760 h 12362603"/>
              <a:gd name="connsiteX2" fmla="*/ 5517896 w 5517896"/>
              <a:gd name="connsiteY2" fmla="*/ 6236123 h 12362603"/>
              <a:gd name="connsiteX3" fmla="*/ 0 w 5517896"/>
              <a:gd name="connsiteY3" fmla="*/ 12362603 h 12362603"/>
              <a:gd name="connsiteX4" fmla="*/ 0 w 5517896"/>
              <a:gd name="connsiteY4" fmla="*/ 0 h 12362603"/>
              <a:gd name="connsiteX0" fmla="*/ 10160 w 5528056"/>
              <a:gd name="connsiteY0" fmla="*/ 0 h 12342283"/>
              <a:gd name="connsiteX1" fmla="*/ 5517896 w 5528056"/>
              <a:gd name="connsiteY1" fmla="*/ 6207760 h 12342283"/>
              <a:gd name="connsiteX2" fmla="*/ 5528056 w 5528056"/>
              <a:gd name="connsiteY2" fmla="*/ 6236123 h 12342283"/>
              <a:gd name="connsiteX3" fmla="*/ 0 w 5528056"/>
              <a:gd name="connsiteY3" fmla="*/ 12342283 h 12342283"/>
              <a:gd name="connsiteX4" fmla="*/ 10160 w 5528056"/>
              <a:gd name="connsiteY4" fmla="*/ 0 h 12342283"/>
              <a:gd name="connsiteX0" fmla="*/ 978 w 5518874"/>
              <a:gd name="connsiteY0" fmla="*/ 0 h 12362603"/>
              <a:gd name="connsiteX1" fmla="*/ 5508714 w 5518874"/>
              <a:gd name="connsiteY1" fmla="*/ 6207760 h 12362603"/>
              <a:gd name="connsiteX2" fmla="*/ 5518874 w 5518874"/>
              <a:gd name="connsiteY2" fmla="*/ 6236123 h 12362603"/>
              <a:gd name="connsiteX3" fmla="*/ 978 w 5518874"/>
              <a:gd name="connsiteY3" fmla="*/ 12362603 h 12362603"/>
              <a:gd name="connsiteX4" fmla="*/ 978 w 5518874"/>
              <a:gd name="connsiteY4" fmla="*/ 0 h 12362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8874" h="12362603">
                <a:moveTo>
                  <a:pt x="978" y="0"/>
                </a:moveTo>
                <a:lnTo>
                  <a:pt x="5508714" y="6207760"/>
                </a:lnTo>
                <a:lnTo>
                  <a:pt x="5518874" y="6236123"/>
                </a:lnTo>
                <a:lnTo>
                  <a:pt x="978" y="12362603"/>
                </a:lnTo>
                <a:cubicBezTo>
                  <a:pt x="4365" y="8248509"/>
                  <a:pt x="-2409" y="4114094"/>
                  <a:pt x="978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 sz="1778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icon to add 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9EBD2F-C4ED-2050-C3B9-F943D78D9FE5}"/>
              </a:ext>
            </a:extLst>
          </p:cNvPr>
          <p:cNvSpPr txBox="1"/>
          <p:nvPr userDrawn="1"/>
        </p:nvSpPr>
        <p:spPr>
          <a:xfrm>
            <a:off x="5779477" y="6645648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32205615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- Conten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D86EAC-13FF-45DC-AEEC-3935BC64775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8120" y="182880"/>
            <a:ext cx="11795760" cy="649224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l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8599" y="1634598"/>
            <a:ext cx="4343400" cy="730700"/>
          </a:xfrm>
          <a:prstGeom prst="rect">
            <a:avLst/>
          </a:prstGeom>
          <a:solidFill>
            <a:srgbClr val="007AC3"/>
          </a:solidFill>
        </p:spPr>
        <p:txBody>
          <a:bodyPr lIns="182880" rIns="182880"/>
          <a:lstStyle>
            <a:lvl1pPr marL="0">
              <a:defRPr sz="22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632D70-FA9B-43F9-B923-4D706DCB1F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48600" y="2362202"/>
            <a:ext cx="4343400" cy="3001493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6856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- Content R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D86EAC-13FF-45DC-AEEC-3935BC64775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8120" y="182880"/>
            <a:ext cx="11795760" cy="649224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l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8599" y="1634598"/>
            <a:ext cx="4343400" cy="730700"/>
          </a:xfrm>
          <a:prstGeom prst="rect">
            <a:avLst/>
          </a:prstGeom>
          <a:solidFill>
            <a:srgbClr val="6FC055"/>
          </a:solidFill>
        </p:spPr>
        <p:txBody>
          <a:bodyPr lIns="182880" rIns="182880"/>
          <a:lstStyle>
            <a:lvl1pPr marL="0">
              <a:defRPr sz="22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632D70-FA9B-43F9-B923-4D706DCB1F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48600" y="2362202"/>
            <a:ext cx="4343400" cy="3001493"/>
          </a:xfrm>
          <a:prstGeom prst="rect">
            <a:avLst/>
          </a:prstGeom>
          <a:solidFill>
            <a:srgbClr val="6FC055"/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68625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060576"/>
            <a:ext cx="12192000" cy="110744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6061" y="3612512"/>
            <a:ext cx="5739632" cy="2712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6061" y="3181702"/>
            <a:ext cx="5739632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20574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6307" y="3612513"/>
            <a:ext cx="5670360" cy="2712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6307" y="3181702"/>
            <a:ext cx="567036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54735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494" y="1606971"/>
            <a:ext cx="5310760" cy="1524000"/>
          </a:xfrm>
          <a:solidFill>
            <a:srgbClr val="007AC3"/>
          </a:solidFill>
          <a:ln>
            <a:noFill/>
          </a:ln>
        </p:spPr>
        <p:txBody>
          <a:bodyPr tIns="18288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is is the area to place your text content. It might describe the image below or vice versa.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493" y="3130971"/>
            <a:ext cx="5310761" cy="27382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5A8D96A6-4868-4E74-A7BC-65B2426851C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31280" y="3130973"/>
            <a:ext cx="5310761" cy="27382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B3823B0-AD49-4878-A483-8FCD4F3DB3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1280" y="1606971"/>
            <a:ext cx="5310760" cy="1524000"/>
          </a:xfrm>
          <a:solidFill>
            <a:srgbClr val="007AC3"/>
          </a:solidFill>
          <a:ln>
            <a:noFill/>
          </a:ln>
        </p:spPr>
        <p:txBody>
          <a:bodyPr tIns="18288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is is the area to place your text content. It might describe the image below or vice versa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44898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D33C9D81-F47C-A1AB-14BC-E5AD4BEF19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55059" y="1336730"/>
            <a:ext cx="2293471" cy="22696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gradFill>
              <a:gsLst>
                <a:gs pos="0">
                  <a:srgbClr val="03A0DC"/>
                </a:gs>
                <a:gs pos="20000">
                  <a:srgbClr val="03A0DC"/>
                </a:gs>
                <a:gs pos="60000">
                  <a:srgbClr val="007AC3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</a:ln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FFF58A1-3102-6E09-6275-D718B12376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949265" y="1336728"/>
            <a:ext cx="2293471" cy="22696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gradFill>
              <a:gsLst>
                <a:gs pos="0">
                  <a:srgbClr val="03A0DC"/>
                </a:gs>
                <a:gs pos="20000">
                  <a:srgbClr val="03A0DC"/>
                </a:gs>
                <a:gs pos="60000">
                  <a:srgbClr val="007AC3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</a:ln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2723B9FC-B9A6-5092-BBA4-81D89F3197B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21165" y="1336728"/>
            <a:ext cx="2293471" cy="22696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gradFill>
              <a:gsLst>
                <a:gs pos="0">
                  <a:srgbClr val="03A0DC"/>
                </a:gs>
                <a:gs pos="20000">
                  <a:srgbClr val="03A0DC"/>
                </a:gs>
                <a:gs pos="60000">
                  <a:srgbClr val="007AC3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</a:ln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5A9C36F-4051-E9CC-EC06-6CE684EF45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813" y="4060497"/>
            <a:ext cx="3429000" cy="1942367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three column layout is not only a visually pleasing layout, it’s also super flexible. You can vary the type of content in each column.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59CFA1-838A-A836-8D4A-807DE5967B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3733036"/>
            <a:ext cx="3429000" cy="305043"/>
          </a:xfrm>
        </p:spPr>
        <p:txBody>
          <a:bodyPr vert="horz" lIns="274320" tIns="0" rIns="274320" bIns="0" rtlCol="0" anchor="ctr">
            <a:no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EED09A6-A800-74BA-57A7-D13F06CCF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5713" y="4060495"/>
            <a:ext cx="3429000" cy="1942367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beauty of using the three column layout is that it helps the brain quickly organize the information on the slide. 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892790B-8A88-92D8-C67E-C952B2B4A2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81500" y="3733036"/>
            <a:ext cx="3429000" cy="305043"/>
          </a:xfrm>
        </p:spPr>
        <p:txBody>
          <a:bodyPr vert="horz" lIns="274320" tIns="0" rIns="274320" bIns="0" rtlCol="0" anchor="ctr">
            <a:no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0B152ED-24B0-255F-4F38-569F96579E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4060497"/>
            <a:ext cx="3429000" cy="194236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But don’t limit yourself to this particular look.  Each column could consist of a simple combination of image and text or several stacked images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F70C9E1-3200-B34F-0851-A0EB98D27E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3400" y="3733036"/>
            <a:ext cx="3429000" cy="305043"/>
          </a:xfrm>
        </p:spPr>
        <p:txBody>
          <a:bodyPr vert="horz" lIns="274320" tIns="0" rIns="274320" bIns="0" rtlCol="0" anchor="ctr">
            <a:no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26256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813" y="3429000"/>
            <a:ext cx="3429000" cy="2743200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three column layout is not only a visually pleasing layout, it’s also super flexible. You can vary the type of content in each column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91505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5713" y="3428999"/>
            <a:ext cx="3429000" cy="2743200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beauty of using the three column layout is that it helps the brain quickly organize the information on the slide.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81500" y="2991505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3429000"/>
            <a:ext cx="3429000" cy="2743200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But don’t limit yourself to this particular look.  Each column could consist of a simple combination of image and text or several stacked images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3400" y="2991505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30236C-8368-40AE-BF2C-20417EB6C8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82100" y="1363671"/>
            <a:ext cx="1371600" cy="1371600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Oswald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ED87A12-B489-466B-B3DC-2C6E06E3E4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04413" y="1363671"/>
            <a:ext cx="1371600" cy="1371600"/>
          </a:xfrm>
          <a:prstGeom prst="ellipse">
            <a:avLst/>
          </a:prstGeom>
          <a:solidFill>
            <a:srgbClr val="02A0DC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Oswald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D20595B-FE03-4071-A078-87E283B7AB1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26726" y="1363671"/>
            <a:ext cx="1371600" cy="1371600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Oswald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11346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6934" y="3097436"/>
            <a:ext cx="4800599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96934" y="2666626"/>
            <a:ext cx="4800599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7535" y="2660226"/>
            <a:ext cx="5329294" cy="368827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6934" y="4318748"/>
            <a:ext cx="4800599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96934" y="3887937"/>
            <a:ext cx="4800599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6934" y="5549031"/>
            <a:ext cx="4800599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96934" y="5118220"/>
            <a:ext cx="4800599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5174" y="2516149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5173" y="3737461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173" y="4967743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97234ED-76A3-EA04-FC68-A92892C536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1019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5414" y="3146641"/>
            <a:ext cx="488034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15414" y="2715831"/>
            <a:ext cx="488034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8479" y="2715831"/>
            <a:ext cx="5329294" cy="368187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5414" y="4367953"/>
            <a:ext cx="488034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5414" y="3937142"/>
            <a:ext cx="488034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15414" y="5598236"/>
            <a:ext cx="488034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5414" y="5167425"/>
            <a:ext cx="488034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3654" y="2565354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3653" y="3786666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83653" y="5016948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E085B22-6F0D-824F-8DE8-02047F600E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97461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271" y="3046636"/>
            <a:ext cx="5343178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271" y="2615826"/>
            <a:ext cx="5343178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7535" y="2609426"/>
            <a:ext cx="5329294" cy="368827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271" y="4267948"/>
            <a:ext cx="5343178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271" y="3837137"/>
            <a:ext cx="5343178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2271" y="5518242"/>
            <a:ext cx="5343178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271" y="5067420"/>
            <a:ext cx="5343178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DCD361B-8F31-5330-1B0C-960BC0D0245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5170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7535" y="3057741"/>
            <a:ext cx="5329294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7535" y="2626931"/>
            <a:ext cx="5329294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0071" y="2626929"/>
            <a:ext cx="5329294" cy="368187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7535" y="4290981"/>
            <a:ext cx="5329294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7535" y="3848242"/>
            <a:ext cx="5329294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535" y="5509336"/>
            <a:ext cx="5329294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535" y="5078525"/>
            <a:ext cx="5329294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3C0FFF1-BBC4-42E4-115F-51CD3E00395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6492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DEB8694-2647-D84B-847E-EA7C270D7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475" y="247345"/>
            <a:ext cx="10515600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333" spc="-53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en-US"/>
              <a:t>Now this is a sample headli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2B82C85-5E6E-DB4E-9296-72A258E35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211" y="1572908"/>
            <a:ext cx="10515600" cy="4351339"/>
          </a:xfrm>
          <a:prstGeom prst="rect">
            <a:avLst/>
          </a:prstGeom>
        </p:spPr>
        <p:txBody>
          <a:bodyPr/>
          <a:lstStyle>
            <a:lvl1pPr marL="243834" indent="-243834">
              <a:lnSpc>
                <a:spcPts val="3467"/>
              </a:lnSpc>
              <a:spcBef>
                <a:spcPts val="1333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3200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536435" indent="-243834">
              <a:spcBef>
                <a:spcPts val="8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3200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377" indent="0">
              <a:buFontTx/>
              <a:buNone/>
              <a:defRPr sz="2667" b="0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F3E013-519D-224F-8A4F-FFEF1CFAB0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36546" y="247345"/>
            <a:ext cx="159698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02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87317" y="2890160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5172" y="2459349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05801" y="2890160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105" y="1106242"/>
            <a:ext cx="11510211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A9BA207-0B3C-48C8-90B8-5B1A11D2F7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7317" y="4669133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7BC1DB0-A896-43A5-8601-49FA85DD10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05801" y="4669133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1A0CDEE3-DFA8-4B0F-84DE-069537B860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88820" y="4243268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B68E92D-F5C8-43B0-A25B-C8E825C0655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183656" y="2434390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56CA54F-4A74-463B-85B9-B3CBDEECE20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78399" y="4243268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4160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3485" y="4407219"/>
            <a:ext cx="2635170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 for the learner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3485" y="3976408"/>
            <a:ext cx="263517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3484" y="2454927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4806" y="4368194"/>
            <a:ext cx="2635171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/>
              <a:t>This is the area to place your text content for the learner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74806" y="3937383"/>
            <a:ext cx="2635171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0969" y="1101820"/>
            <a:ext cx="11483879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A9BA207-0B3C-48C8-90B8-5B1A11D2F7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79145" y="4407219"/>
            <a:ext cx="2635170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/>
              <a:t>This is the area to place your text content for the learner.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F7746CC-E985-493D-A2CC-7C8B08D4B61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79145" y="3976408"/>
            <a:ext cx="263517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7BC1DB0-A896-43A5-8601-49FA85DD10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70463" y="4368194"/>
            <a:ext cx="2635171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/>
              <a:t>This is the area to place your text content for the learner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2B92EC9-5BB2-4CBF-8358-EC6071E35C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0463" y="3937383"/>
            <a:ext cx="2635171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B68E92D-F5C8-43B0-A25B-C8E825C0655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379144" y="2450687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83893298-3F3F-451C-B999-0F8AEC9C511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77685" y="2447205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014F8F6-B51B-4673-8C1A-903B4F571D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973345" y="2442965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84643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BFC31-BDDD-4F38-92F6-B8FFCACD5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B9D08DB-05A8-4C80-9C88-CA0765ADB8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73493"/>
            <a:ext cx="3044952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E37603-640E-49FA-8656-9ECC1C5D78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2" y="1501893"/>
            <a:ext cx="2140768" cy="1371600"/>
          </a:xfrm>
          <a:solidFill>
            <a:srgbClr val="007AC3"/>
          </a:solidFill>
          <a:ln>
            <a:solidFill>
              <a:srgbClr val="007AC3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F4ED5-A8EF-4617-BB46-BF9AF28811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501893"/>
            <a:ext cx="1031236" cy="1371600"/>
          </a:xfrm>
          <a:solidFill>
            <a:srgbClr val="007AC3"/>
          </a:solidFill>
          <a:ln>
            <a:solidFill>
              <a:srgbClr val="007AC3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7C0856F-8F55-4CF3-AD4E-D3FECA27B8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4952" y="2873492"/>
            <a:ext cx="3044952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977C882-05F5-4523-944D-07238CB910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74295" y="1501892"/>
            <a:ext cx="2130551" cy="1371600"/>
          </a:xfrm>
          <a:solidFill>
            <a:srgbClr val="03A0DC"/>
          </a:solidFill>
          <a:ln>
            <a:solidFill>
              <a:srgbClr val="03A0DC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A314998-669D-42F3-8D2A-E75B9ACDF8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59893" y="1501892"/>
            <a:ext cx="1031236" cy="1371600"/>
          </a:xfrm>
          <a:solidFill>
            <a:srgbClr val="03A0DC"/>
          </a:solidFill>
          <a:ln>
            <a:solidFill>
              <a:srgbClr val="03A0DC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02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FFD9560-E68B-4333-957F-AC68FD4E4D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2098" y="2873492"/>
            <a:ext cx="3044952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95D1007-062A-4A83-90C2-B2DE35F772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3970" y="1501892"/>
            <a:ext cx="2130551" cy="1371600"/>
          </a:xfrm>
          <a:solidFill>
            <a:srgbClr val="21C0D4"/>
          </a:solidFill>
          <a:ln>
            <a:solidFill>
              <a:srgbClr val="21C0D4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31E6971-7DFD-4569-B0D9-42EB5033D5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9568" y="1501892"/>
            <a:ext cx="1031236" cy="1371600"/>
          </a:xfrm>
          <a:solidFill>
            <a:srgbClr val="21C0D4"/>
          </a:solidFill>
          <a:ln>
            <a:solidFill>
              <a:srgbClr val="21C0D4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03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8BE917F-0D7D-433A-AE12-651F3632F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59244" y="2873492"/>
            <a:ext cx="3020564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C5B7FC-96E7-44A7-AC81-1383F2029E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73644" y="1501892"/>
            <a:ext cx="2106164" cy="1371600"/>
          </a:xfrm>
          <a:solidFill>
            <a:srgbClr val="6FC055"/>
          </a:solidFill>
          <a:ln>
            <a:solidFill>
              <a:srgbClr val="6FC055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E8A56EC-CB35-4001-8E6F-5CE2927BCB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59244" y="1501892"/>
            <a:ext cx="1031236" cy="1371600"/>
          </a:xfrm>
          <a:solidFill>
            <a:srgbClr val="6FC055"/>
          </a:solidFill>
          <a:ln>
            <a:solidFill>
              <a:srgbClr val="6FC055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0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94429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79C4411-CAF7-00C1-B1AC-B26403FE24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71" y="3952865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878373E-0BD8-9612-ED9E-12C844352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971" y="3522055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C4E86E4-4072-099A-B76C-6C19134A67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8566" y="3965191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61D1B9B-C0BF-C07A-025E-C438FD3D0D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566" y="3534379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991DED4-F822-B8D6-47EA-A5FE862D98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8269" y="3965190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CD3FED8-F797-8B4C-C88D-1946C34BC1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8269" y="3534379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3F4C64A-9C7F-8BE2-6E50-DFC49419AF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620" y="2768804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EDDD0111-ECED-4B93-2CDD-E40A73D320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84214" y="2789916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2B26B93-CDA9-04C1-3AB6-AC85BB7142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87809" y="2802616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624531C-C3D2-36CA-16E8-45D08544E0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29635" y="3965190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8B6DADBD-55D3-4524-26B5-059FA96F5A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29635" y="3534379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4A48C63E-E746-C4F1-81C9-36D6CDAB45D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74811" y="2802225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2093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1736" y="253479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31736" y="343176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31736" y="432873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89364" y="2563881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9363" y="3460680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7434" y="4357479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0182" y="1149338"/>
            <a:ext cx="11537758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list layout is a classic means of presenting several key call-out facts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FA404B-244E-44CA-9FE4-66430519C9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67" y="6436628"/>
            <a:ext cx="718641" cy="274320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0972F9-A8AE-4C73-BBCB-6E39C46DDB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31736" y="522570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9AA4E44-E7FD-4679-BF7A-C0AA03FAC1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87434" y="5254279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EE78F23-C368-467B-89A1-1A08733B9C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270409"/>
            <a:ext cx="4553042" cy="4570119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nsert Character PNG with Transparent Background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28547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CEA4B-7294-465E-9AD5-3A631CA5D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8D9E0D2-526C-4B5F-A1EF-B11DD1800A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4160" y="1149338"/>
            <a:ext cx="11528213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20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1817BA3-F6E5-A7F4-40E8-A5FFB73630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4165600"/>
            <a:ext cx="12192000" cy="2692400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0C41BC10-D1E8-52CB-19B1-8C20EE2068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6080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3983CC0E-8575-9D3D-ACB8-133B139FE5B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67506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A4A135D-DB40-EC2B-52D0-E79F3341E5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49334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25C29BA8-CDD1-F462-2307-35023F17930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672990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DBBFB19-0716-F8F9-0FFB-8EC4964F63B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054416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30400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2485" y="1368636"/>
            <a:ext cx="11530061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96DD85-DD12-0A8E-312F-F0B04C549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6935" y="3097436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C8B9422-65BC-7C91-C40E-933ACFD0FF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96934" y="2666626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D903E0A-18A4-E612-F31B-A533A4C08A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6935" y="4318748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B5131EF-FB40-9E04-C5A5-A8C1E2D4DF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96934" y="3887937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44B9273-F80D-9853-0AB6-0677EAAC92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6935" y="5549031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679BF5E-5C41-296D-9C84-FFE27B1A52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96934" y="5118220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55939A4-44F9-FD6D-E700-00C1CDC5C3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5174" y="2516149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031F898-78E3-93D0-6820-4CBF1DE66CE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5173" y="3737461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8774913-20C4-8E31-71A3-2DBD23229E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173" y="4967743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E83CC79-9BE1-C906-DF7B-421FB8A076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15412" y="3088465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549E0C5-1B84-DE14-4E5B-D860B0D259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15411" y="2657655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5BCA7FF5-A021-036D-5F55-A2A3D51061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15412" y="4309778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E367A3-48CF-E4C1-9DC5-FC13400666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15411" y="3878966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0D974A4-8157-FD8F-79E6-DD04C7BE12C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15412" y="5540060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61CC482-5164-CD24-BF57-D28A749BD2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15411" y="5109249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589A2B56-54CF-B7E2-CD62-E723191AEA9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83651" y="2507179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8A4F7FE3-AFB2-66D2-ED47-41D1428295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83650" y="3728490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D152F51-D360-F97B-9B45-39BAEB21C3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3650" y="4958772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60602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A8F5CFF-DDB9-121C-4B6A-1871B30BA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6871" y="2746365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7DCF22F-FFBD-E72D-1090-D9D31C3423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6871" y="2315555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5546747-CC97-CC04-3C69-80C4350B32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0466" y="2758691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11990278-24DF-3B55-4CB3-F8C5F15B0D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0466" y="2327879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5B6E361-48F2-99A0-2DF8-CFCDA3A233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69" y="2758690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07CEDA5A-5E11-DEC2-C28E-2A7B16D02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0169" y="2327879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F3E82D4-8F50-6535-810B-6A2DFD865F4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04516" y="1502540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8CC5098-FDDD-3B6B-359B-3EFA40C0EF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08111" y="1516181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8ADF5740-A123-2F71-3220-D052576426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11705" y="1513940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A5C0C35-C3B6-FBC3-3A48-DAB0E2320A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1535" y="2758690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2D685F2A-12C5-87BA-4E41-64DD3C89DD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1535" y="2327879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C8130877-7C9B-863C-DBBD-0B28F00FFF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98708" y="1513548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A121A2B4-70C4-5FBF-C247-78C97B25B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6871" y="5185143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0032D4B-97CB-43DC-45A4-BF2D5D05A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96871" y="4754333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2B4E4DAC-5C7B-0EF9-79C8-8E3328056D7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00466" y="5197469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17ED0471-4261-7813-DB68-3CDE074E1E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00466" y="4766657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4C45075E-0530-704F-10D5-DE40BB30C3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00169" y="5197468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123C5A14-B66C-3CBA-2239-8B8B6761F38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0169" y="4766657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E9FFEF81-4959-E217-B93A-73F5A4A886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04516" y="3948789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27C0359-2167-479F-7FE8-77370D75AC4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08111" y="3954959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D46B6DA-7E9E-52AF-2C54-E5701DD628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011705" y="3952719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41A5ED4C-2A68-0409-E30D-9570BA58D8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91535" y="5197468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34EE1381-0BDA-44FB-5BE0-0F8FD863551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91535" y="4766657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B834FEE-89B5-A9C4-5B31-0A52101A33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898708" y="3952327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59980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ll Ou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06581" y="253053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6581" y="342750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6581" y="432447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4209" y="2559615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4208" y="3456413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2279" y="4353213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0182" y="1149338"/>
            <a:ext cx="11514667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list layout is a classic means of presenting several key call-out facts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0972F9-A8AE-4C73-BBCB-6E39C46DDB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06581" y="522144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9AA4E44-E7FD-4679-BF7A-C0AA03FAC1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2279" y="5250013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8DF9266-A86A-4589-B9A6-957208C867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13608" y="249139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10FFA8A-AC48-4AA2-847E-E03779F0BC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13608" y="338836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F5AFC5D-6DCB-4031-9782-CB13B74FC8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13608" y="428533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4E4EF190-253C-47A1-95CF-3CEB19E8C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71238" y="2520477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9BFACAB-4719-44BF-A6D7-3D44429F89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1237" y="3417276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42A77CD-9D2A-4079-A99F-F304ABCC6F6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9308" y="4314075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75EEDBF-7336-48D0-92BD-69C04DD71B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13608" y="518230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0AC733F-4375-456F-8DBE-48D93CF0BBD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9308" y="5210875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41754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ll Ou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06581" y="252283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6581" y="3419804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6581" y="431677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5171" y="1149338"/>
            <a:ext cx="10861658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list layout is a classic means of presenting a set of facts to your audience. This particular layout, however, could also be put to work as a menu or summary slide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0972F9-A8AE-4C73-BBCB-6E39C46DDB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06581" y="5195963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8DF9266-A86A-4589-B9A6-957208C867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13608" y="252233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10FFA8A-AC48-4AA2-847E-E03779F0BC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13608" y="341930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F5AFC5D-6DCB-4031-9782-CB13B74FC8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13608" y="431627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75EEDBF-7336-48D0-92BD-69C04DD71B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13608" y="521324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4041D65-0CA6-2D6C-B8A5-D0DC548EFE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2280" y="2528858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2C0BB850-089D-225C-4AD0-9166659BDC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2280" y="3415319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2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871B9027-8B17-E7D8-46A1-3DCD39E273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2280" y="4301780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3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82ED3B06-62F1-0FCE-7B74-E390A7ED2EA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2280" y="5188241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4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52774595-1952-F642-EBD1-615894247C4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72200" y="2528858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5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E24FBC9D-CEE3-C1A2-3018-5CDB4FEF874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72200" y="3415319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6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4283727-CADA-D899-7752-E5F9216FA08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2200" y="4301780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7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00A2F5F1-D45E-C0CB-6831-3F7DD04FD11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72200" y="5188241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0956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Option 2 (Speake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7239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D86EAC-13FF-45DC-AEEC-3935BC64775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37555" y="240251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62B3E25B-7BE9-B266-957F-2F9CC15FFFF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429441" y="240251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EDCD85E4-DFD0-C9A2-2C53-BB8BEDE9038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421324" y="240251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922EAFA8-7B6E-62F1-33E1-75344A3E357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437555" y="4010491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A93861BC-12FB-96E2-B4B7-9C60334DEC1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429441" y="4017047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5" name="Picture Placeholder 2">
            <a:extLst>
              <a:ext uri="{FF2B5EF4-FFF2-40B4-BE49-F238E27FC236}">
                <a16:creationId xmlns:a16="http://schemas.microsoft.com/office/drawing/2014/main" id="{590F6E48-1A88-CE28-8361-C69203E8E69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421324" y="401527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A9A705F-E033-3D43-33A8-9D010F1ACB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92732" y="5052578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72B38762-6E01-F9ED-275E-C87293BD2F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82938" y="1747807"/>
            <a:ext cx="4796929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Speakers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B6F04DB5-FF27-D373-2053-A9293E5519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84617" y="5049363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1D3EC132-3E1B-3EFE-8A46-434736C513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423480" y="5049362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AD62AEA9-3B19-4BCE-877A-2B74984E22C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92732" y="3452243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B1C5D9F2-49BD-E8CA-F5BD-C6E505FAC95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84616" y="3453436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F5CE395A-0C84-9591-6A25-88FF95FE5E3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423479" y="3455325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74175CA3-5126-81B3-27D9-9B252DCB9E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01735" y="1748244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3FDC8332-9AFD-6E5B-E725-FAF71A0621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5788" y="4809141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0146ECB7-1A1E-8476-DCA8-38C7AE2BBB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5788" y="5316551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6ED862FA-6A3B-C0CD-6748-BC2C5767B1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0199" y="5319036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7F5ACD30-DBCE-6168-6B8E-5119D4A5B12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019" y="4808635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CB5F5BB4-EDE3-DC02-7E04-A1E2DF4121B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788" y="3790389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934168A6-F67B-6489-8508-42D19028836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5788" y="4297798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948110F2-B1AB-920A-3122-D111DC41E0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0199" y="4300284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C310FDB7-62B2-AA7D-8D2A-5ADF75C8D26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72019" y="3789883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5227E65A-88AB-E4D1-AD70-BDD2B159D91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0006" y="2766560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07BE4A4B-CED0-08F7-78B7-626FC5BE2E0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0006" y="3273969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26CADE56-78A3-DE3A-A750-0C88233B8E0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74417" y="3276454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F2FB5DD9-5074-CFB7-1920-AACE6B68772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6237" y="2766054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B543FE71-4377-3BEA-3F83-6A2525A9C52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50006" y="1747807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71" name="Text Placeholder 7">
            <a:extLst>
              <a:ext uri="{FF2B5EF4-FFF2-40B4-BE49-F238E27FC236}">
                <a16:creationId xmlns:a16="http://schemas.microsoft.com/office/drawing/2014/main" id="{4D94B4D2-4C2D-C9BE-E7AF-9F560D31F02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50006" y="2255217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72" name="Text Placeholder 7">
            <a:extLst>
              <a:ext uri="{FF2B5EF4-FFF2-40B4-BE49-F238E27FC236}">
                <a16:creationId xmlns:a16="http://schemas.microsoft.com/office/drawing/2014/main" id="{79380BDF-62B1-7500-9AFC-D8E9C674AA8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4417" y="2257702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73" name="Text Placeholder 7">
            <a:extLst>
              <a:ext uri="{FF2B5EF4-FFF2-40B4-BE49-F238E27FC236}">
                <a16:creationId xmlns:a16="http://schemas.microsoft.com/office/drawing/2014/main" id="{24E1D555-98EE-3D26-F578-FF90B2BACE8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6237" y="1747301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6097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Option 2 (Speake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759259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7309B645-F96F-4899-DCF7-78680C3921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5788" y="4543904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3CE88AC3-987D-3CF1-7DDF-0695456AAD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9523" y="5051313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1ED75A5B-EC40-990E-3DA5-B3B97694F3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3934" y="5053799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2CCB0436-3486-6A05-BD53-B6404BD107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019" y="4543398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384AD79-BAD5-E73B-1131-D7BE6F3AFC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788" y="3528887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26278EB-691C-A3B3-2A47-C50C9DE14C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523" y="4032561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CE011DE-5A0A-1DCF-F954-0BF6F39512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3934" y="4035047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172FBD8-ACCD-93C8-BD0E-98E266AF0D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2019" y="3528381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B2079E1-F935-0A23-23E8-78E197C6DCC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0006" y="2516265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568097B3-2FE8-885C-2F8D-36522A055E7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0006" y="3023674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3D4646D-44EF-B957-4CAD-E54DB9479F6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74417" y="3026159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8AF68BBA-647E-1C3D-3E0C-F853D517A17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6237" y="2515759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7F91AD3A-E0F6-0C5A-2955-DFC6E03C94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0006" y="1501248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05CB96F-D55F-375A-ACAE-9E8AB95DBE5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0006" y="2008657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11171C7-490C-6723-922B-2ADCC3D438C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74417" y="2011143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181F8B3-762F-6D3A-2317-7EC67F4FD0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6237" y="1500742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253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3201474-4CA0-52B7-CA61-39A65971ED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1209" y="1747846"/>
            <a:ext cx="6659454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2FBE699-13E3-1EBC-6CD2-299820D5B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1209" y="2351935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/>
              <a:t>Agenda Item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14AF1F-E113-0ABF-7931-FF2F75192D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6990" y="2956023"/>
            <a:ext cx="6659453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/>
              <a:t>Agenda Item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67EF1E6-6606-901C-A67D-EDEAF60A8B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1209" y="3553922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/>
              <a:t>Agenda Ite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98A4115-3BF8-357F-CDC3-AAF01964E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1209" y="4150510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0312FB0-0528-E8EE-B96B-B5EA44B1F8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1209" y="4746661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6FEC21E-83B0-4948-8C4F-BA3B2F4299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1209" y="5342811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EB5025E-5CE1-0BFD-1E79-66D372E65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773" y="4150509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5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48EED932-5735-407A-CA27-9E0DCEAD094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3773" y="3553484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4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847614C5-BD52-79B3-ABEB-32297641E3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3771" y="2956021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3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687F3767-14AD-F2D3-B6AC-D5013EF5B7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3771" y="2355024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2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E8DC44D8-8259-C4D8-45E5-5AB777748C8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5167" y="5343246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7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CC0E895-4242-8B5A-CA53-635C8B6B4EC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15167" y="4747097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6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B2C68065-8A6A-212F-4EB3-996154711F6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3771" y="1746840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332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ed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FD940-F42D-CAC3-B067-9E8F14934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B50A1A-59CB-CAED-A52A-23D1E5DE9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919" y="1179321"/>
            <a:ext cx="11493377" cy="2687124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809178F-84AE-E055-8590-2FB02A0165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4487334"/>
            <a:ext cx="12192000" cy="2370667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08F881-765D-4D27-2BCB-DD22739D672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4341820"/>
            <a:ext cx="12192000" cy="291028"/>
          </a:xfrm>
          <a:solidFill>
            <a:srgbClr val="6FC055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2476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C8F347-128E-B23F-4C6B-B0C8965B94A5}"/>
              </a:ext>
            </a:extLst>
          </p:cNvPr>
          <p:cNvSpPr/>
          <p:nvPr userDrawn="1"/>
        </p:nvSpPr>
        <p:spPr>
          <a:xfrm>
            <a:off x="0" y="1673903"/>
            <a:ext cx="12192000" cy="3489377"/>
          </a:xfrm>
          <a:prstGeom prst="rect">
            <a:avLst/>
          </a:prstGeom>
          <a:solidFill>
            <a:srgbClr val="40404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7B0DE458-CAD6-2324-1391-81AFEF8B72D0}"/>
              </a:ext>
            </a:extLst>
          </p:cNvPr>
          <p:cNvSpPr/>
          <p:nvPr userDrawn="1"/>
        </p:nvSpPr>
        <p:spPr>
          <a:xfrm rot="13487843">
            <a:off x="-1234296" y="2170697"/>
            <a:ext cx="2468592" cy="248349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" name="Parallelogram 13">
            <a:extLst>
              <a:ext uri="{FF2B5EF4-FFF2-40B4-BE49-F238E27FC236}">
                <a16:creationId xmlns:a16="http://schemas.microsoft.com/office/drawing/2014/main" id="{5FE7E9FA-B87C-D902-71A8-4FF9B4E279BA}"/>
              </a:ext>
            </a:extLst>
          </p:cNvPr>
          <p:cNvSpPr/>
          <p:nvPr userDrawn="1"/>
        </p:nvSpPr>
        <p:spPr>
          <a:xfrm rot="2075180">
            <a:off x="839767" y="2461897"/>
            <a:ext cx="1353081" cy="3380021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34199 w 4770319"/>
              <a:gd name="connsiteY3" fmla="*/ 8914194 h 11834458"/>
              <a:gd name="connsiteX4" fmla="*/ 0 w 4770319"/>
              <a:gd name="connsiteY4" fmla="*/ 11834458 h 11834458"/>
              <a:gd name="connsiteX0" fmla="*/ 0 w 4770319"/>
              <a:gd name="connsiteY0" fmla="*/ 11893133 h 11893133"/>
              <a:gd name="connsiteX1" fmla="*/ 1395908 w 4770319"/>
              <a:gd name="connsiteY1" fmla="*/ 0 h 11893133"/>
              <a:gd name="connsiteX2" fmla="*/ 4770319 w 4770319"/>
              <a:gd name="connsiteY2" fmla="*/ 4626322 h 11893133"/>
              <a:gd name="connsiteX3" fmla="*/ 4234199 w 4770319"/>
              <a:gd name="connsiteY3" fmla="*/ 8972869 h 11893133"/>
              <a:gd name="connsiteX4" fmla="*/ 0 w 4770319"/>
              <a:gd name="connsiteY4" fmla="*/ 11893133 h 11893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0319" h="11893133">
                <a:moveTo>
                  <a:pt x="0" y="11893133"/>
                </a:moveTo>
                <a:lnTo>
                  <a:pt x="1395908" y="0"/>
                </a:lnTo>
                <a:lnTo>
                  <a:pt x="4770319" y="4626322"/>
                </a:lnTo>
                <a:lnTo>
                  <a:pt x="4234199" y="8972869"/>
                </a:lnTo>
                <a:lnTo>
                  <a:pt x="0" y="11893133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" name="Parallelogram 13">
            <a:extLst>
              <a:ext uri="{FF2B5EF4-FFF2-40B4-BE49-F238E27FC236}">
                <a16:creationId xmlns:a16="http://schemas.microsoft.com/office/drawing/2014/main" id="{CEF5DDF1-E479-6EE8-F838-44D793A76CA4}"/>
              </a:ext>
            </a:extLst>
          </p:cNvPr>
          <p:cNvSpPr/>
          <p:nvPr userDrawn="1"/>
        </p:nvSpPr>
        <p:spPr>
          <a:xfrm rot="8425880" flipH="1">
            <a:off x="960177" y="896216"/>
            <a:ext cx="1196240" cy="3444976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230214 w 3758701"/>
              <a:gd name="connsiteY3" fmla="*/ 8925289 h 12193226"/>
              <a:gd name="connsiteX4" fmla="*/ 0 w 3758701"/>
              <a:gd name="connsiteY4" fmla="*/ 12193226 h 12193226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382557 w 3758701"/>
              <a:gd name="connsiteY3" fmla="*/ 9197087 h 12193226"/>
              <a:gd name="connsiteX4" fmla="*/ 0 w 3758701"/>
              <a:gd name="connsiteY4" fmla="*/ 12193226 h 12193226"/>
              <a:gd name="connsiteX0" fmla="*/ 0 w 3758701"/>
              <a:gd name="connsiteY0" fmla="*/ 11937534 h 11937534"/>
              <a:gd name="connsiteX1" fmla="*/ 434410 w 3758701"/>
              <a:gd name="connsiteY1" fmla="*/ 0 h 11937534"/>
              <a:gd name="connsiteX2" fmla="*/ 3758701 w 3758701"/>
              <a:gd name="connsiteY2" fmla="*/ 4311955 h 11937534"/>
              <a:gd name="connsiteX3" fmla="*/ 3382557 w 3758701"/>
              <a:gd name="connsiteY3" fmla="*/ 8941395 h 11937534"/>
              <a:gd name="connsiteX4" fmla="*/ 0 w 3758701"/>
              <a:gd name="connsiteY4" fmla="*/ 11937534 h 11937534"/>
              <a:gd name="connsiteX0" fmla="*/ 0 w 3758701"/>
              <a:gd name="connsiteY0" fmla="*/ 12147583 h 12147583"/>
              <a:gd name="connsiteX1" fmla="*/ 435222 w 3758701"/>
              <a:gd name="connsiteY1" fmla="*/ 0 h 12147583"/>
              <a:gd name="connsiteX2" fmla="*/ 3758701 w 3758701"/>
              <a:gd name="connsiteY2" fmla="*/ 4522004 h 12147583"/>
              <a:gd name="connsiteX3" fmla="*/ 3382557 w 3758701"/>
              <a:gd name="connsiteY3" fmla="*/ 9151444 h 12147583"/>
              <a:gd name="connsiteX4" fmla="*/ 0 w 3758701"/>
              <a:gd name="connsiteY4" fmla="*/ 12147583 h 12147583"/>
              <a:gd name="connsiteX0" fmla="*/ 0 w 3718247"/>
              <a:gd name="connsiteY0" fmla="*/ 12094610 h 12094610"/>
              <a:gd name="connsiteX1" fmla="*/ 394768 w 3718247"/>
              <a:gd name="connsiteY1" fmla="*/ 0 h 12094610"/>
              <a:gd name="connsiteX2" fmla="*/ 3718247 w 3718247"/>
              <a:gd name="connsiteY2" fmla="*/ 4522004 h 12094610"/>
              <a:gd name="connsiteX3" fmla="*/ 3342103 w 3718247"/>
              <a:gd name="connsiteY3" fmla="*/ 9151444 h 12094610"/>
              <a:gd name="connsiteX4" fmla="*/ 0 w 3718247"/>
              <a:gd name="connsiteY4" fmla="*/ 12094610 h 12094610"/>
              <a:gd name="connsiteX0" fmla="*/ 0 w 3734266"/>
              <a:gd name="connsiteY0" fmla="*/ 12094610 h 12094610"/>
              <a:gd name="connsiteX1" fmla="*/ 394768 w 3734266"/>
              <a:gd name="connsiteY1" fmla="*/ 0 h 12094610"/>
              <a:gd name="connsiteX2" fmla="*/ 3734266 w 3734266"/>
              <a:gd name="connsiteY2" fmla="*/ 4542648 h 12094610"/>
              <a:gd name="connsiteX3" fmla="*/ 3342103 w 3734266"/>
              <a:gd name="connsiteY3" fmla="*/ 9151444 h 12094610"/>
              <a:gd name="connsiteX4" fmla="*/ 0 w 3734266"/>
              <a:gd name="connsiteY4" fmla="*/ 12094610 h 12094610"/>
              <a:gd name="connsiteX0" fmla="*/ 0 w 3756611"/>
              <a:gd name="connsiteY0" fmla="*/ 12094610 h 12094610"/>
              <a:gd name="connsiteX1" fmla="*/ 394768 w 3756611"/>
              <a:gd name="connsiteY1" fmla="*/ 0 h 12094610"/>
              <a:gd name="connsiteX2" fmla="*/ 3756611 w 3756611"/>
              <a:gd name="connsiteY2" fmla="*/ 4592468 h 12094610"/>
              <a:gd name="connsiteX3" fmla="*/ 3342103 w 3756611"/>
              <a:gd name="connsiteY3" fmla="*/ 9151444 h 12094610"/>
              <a:gd name="connsiteX4" fmla="*/ 0 w 3756611"/>
              <a:gd name="connsiteY4" fmla="*/ 12094610 h 12094610"/>
              <a:gd name="connsiteX0" fmla="*/ 0 w 3764149"/>
              <a:gd name="connsiteY0" fmla="*/ 12094610 h 12094610"/>
              <a:gd name="connsiteX1" fmla="*/ 394768 w 3764149"/>
              <a:gd name="connsiteY1" fmla="*/ 0 h 12094610"/>
              <a:gd name="connsiteX2" fmla="*/ 3764149 w 3764149"/>
              <a:gd name="connsiteY2" fmla="*/ 4559190 h 12094610"/>
              <a:gd name="connsiteX3" fmla="*/ 3342103 w 3764149"/>
              <a:gd name="connsiteY3" fmla="*/ 9151444 h 12094610"/>
              <a:gd name="connsiteX4" fmla="*/ 0 w 3764149"/>
              <a:gd name="connsiteY4" fmla="*/ 12094610 h 12094610"/>
              <a:gd name="connsiteX0" fmla="*/ 0 w 3769966"/>
              <a:gd name="connsiteY0" fmla="*/ 12094610 h 12094610"/>
              <a:gd name="connsiteX1" fmla="*/ 394768 w 3769966"/>
              <a:gd name="connsiteY1" fmla="*/ 0 h 12094610"/>
              <a:gd name="connsiteX2" fmla="*/ 3769966 w 3769966"/>
              <a:gd name="connsiteY2" fmla="*/ 4545190 h 12094610"/>
              <a:gd name="connsiteX3" fmla="*/ 3342103 w 3769966"/>
              <a:gd name="connsiteY3" fmla="*/ 9151444 h 12094610"/>
              <a:gd name="connsiteX4" fmla="*/ 0 w 3769966"/>
              <a:gd name="connsiteY4" fmla="*/ 12094610 h 12094610"/>
              <a:gd name="connsiteX0" fmla="*/ 0 w 3824271"/>
              <a:gd name="connsiteY0" fmla="*/ 12094610 h 12094610"/>
              <a:gd name="connsiteX1" fmla="*/ 394768 w 3824271"/>
              <a:gd name="connsiteY1" fmla="*/ 0 h 12094610"/>
              <a:gd name="connsiteX2" fmla="*/ 3824271 w 3824271"/>
              <a:gd name="connsiteY2" fmla="*/ 4550687 h 12094610"/>
              <a:gd name="connsiteX3" fmla="*/ 3342103 w 3824271"/>
              <a:gd name="connsiteY3" fmla="*/ 9151444 h 12094610"/>
              <a:gd name="connsiteX4" fmla="*/ 0 w 3824271"/>
              <a:gd name="connsiteY4" fmla="*/ 12094610 h 12094610"/>
              <a:gd name="connsiteX0" fmla="*/ 0 w 3926781"/>
              <a:gd name="connsiteY0" fmla="*/ 12094610 h 12094610"/>
              <a:gd name="connsiteX1" fmla="*/ 394768 w 3926781"/>
              <a:gd name="connsiteY1" fmla="*/ 0 h 12094610"/>
              <a:gd name="connsiteX2" fmla="*/ 3926781 w 3926781"/>
              <a:gd name="connsiteY2" fmla="*/ 4566893 h 12094610"/>
              <a:gd name="connsiteX3" fmla="*/ 3342103 w 3926781"/>
              <a:gd name="connsiteY3" fmla="*/ 9151444 h 12094610"/>
              <a:gd name="connsiteX4" fmla="*/ 0 w 3926781"/>
              <a:gd name="connsiteY4" fmla="*/ 12094610 h 12094610"/>
              <a:gd name="connsiteX0" fmla="*/ 0 w 3952346"/>
              <a:gd name="connsiteY0" fmla="*/ 12094610 h 12094610"/>
              <a:gd name="connsiteX1" fmla="*/ 394768 w 3952346"/>
              <a:gd name="connsiteY1" fmla="*/ 0 h 12094610"/>
              <a:gd name="connsiteX2" fmla="*/ 3952346 w 3952346"/>
              <a:gd name="connsiteY2" fmla="*/ 4586962 h 12094610"/>
              <a:gd name="connsiteX3" fmla="*/ 3342103 w 3952346"/>
              <a:gd name="connsiteY3" fmla="*/ 9151444 h 12094610"/>
              <a:gd name="connsiteX4" fmla="*/ 0 w 3952346"/>
              <a:gd name="connsiteY4" fmla="*/ 12094610 h 12094610"/>
              <a:gd name="connsiteX0" fmla="*/ 0 w 3943563"/>
              <a:gd name="connsiteY0" fmla="*/ 12094610 h 12094610"/>
              <a:gd name="connsiteX1" fmla="*/ 394768 w 3943563"/>
              <a:gd name="connsiteY1" fmla="*/ 0 h 12094610"/>
              <a:gd name="connsiteX2" fmla="*/ 3943563 w 3943563"/>
              <a:gd name="connsiteY2" fmla="*/ 4562765 h 12094610"/>
              <a:gd name="connsiteX3" fmla="*/ 3342103 w 3943563"/>
              <a:gd name="connsiteY3" fmla="*/ 9151444 h 12094610"/>
              <a:gd name="connsiteX4" fmla="*/ 0 w 3943563"/>
              <a:gd name="connsiteY4" fmla="*/ 12094610 h 12094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3563" h="12094610">
                <a:moveTo>
                  <a:pt x="0" y="12094610"/>
                </a:moveTo>
                <a:lnTo>
                  <a:pt x="394768" y="0"/>
                </a:lnTo>
                <a:lnTo>
                  <a:pt x="3943563" y="4562765"/>
                </a:lnTo>
                <a:lnTo>
                  <a:pt x="3342103" y="9151444"/>
                </a:lnTo>
                <a:lnTo>
                  <a:pt x="0" y="12094610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FFA6E0-E40B-F470-7F9A-1E18C8C862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7403" y="2959450"/>
            <a:ext cx="9195508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C37289-0347-A0CB-4EE9-D026F21D72CB}"/>
              </a:ext>
            </a:extLst>
          </p:cNvPr>
          <p:cNvSpPr txBox="1"/>
          <p:nvPr userDrawn="1"/>
        </p:nvSpPr>
        <p:spPr>
          <a:xfrm>
            <a:off x="161304" y="6673899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4453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5.xml"/><Relationship Id="rId11" Type="http://schemas.openxmlformats.org/officeDocument/2006/relationships/image" Target="../media/image2.pn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2.png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7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49.xml"/><Relationship Id="rId38" Type="http://schemas.openxmlformats.org/officeDocument/2006/relationships/oleObject" Target="../embeddings/oleObject4.bin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48.xml"/><Relationship Id="rId37" Type="http://schemas.openxmlformats.org/officeDocument/2006/relationships/tags" Target="../tags/tag2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slideLayout" Target="../slideLayouts/slideLayout47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slideLayout" Target="../slideLayouts/slideLayout46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06248-BB75-4E4A-BFE3-4A39C78CA8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0"/>
            <a:ext cx="11566164" cy="5177029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</p:spTree>
    <p:custDataLst>
      <p:tags r:id="rId6"/>
    </p:custDataLst>
    <p:extLst>
      <p:ext uri="{BB962C8B-B14F-4D97-AF65-F5344CB8AC3E}">
        <p14:creationId xmlns:p14="http://schemas.microsoft.com/office/powerpoint/2010/main" val="306358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48" r:id="rId2"/>
    <p:sldLayoutId id="2147485810" r:id="rId3"/>
    <p:sldLayoutId id="2147485811" r:id="rId4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5292" indent="0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None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79816" indent="-158763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829094" indent="-157881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179254" indent="-157881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529414" indent="-129656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06248-BB75-4E4A-BFE3-4A39C78CA8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0"/>
            <a:ext cx="11566164" cy="5177029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</p:spTree>
    <p:custDataLst>
      <p:tags r:id="rId6"/>
    </p:custDataLst>
    <p:extLst>
      <p:ext uri="{BB962C8B-B14F-4D97-AF65-F5344CB8AC3E}">
        <p14:creationId xmlns:p14="http://schemas.microsoft.com/office/powerpoint/2010/main" val="217689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9" r:id="rId1"/>
    <p:sldLayoutId id="2147485770" r:id="rId2"/>
    <p:sldLayoutId id="2147485767" r:id="rId3"/>
    <p:sldLayoutId id="2147485812" r:id="rId4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5292" indent="0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None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349278" indent="164055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795578" indent="-124364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179254" indent="-129656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591155" indent="-129656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592EC96-CDC0-E6F5-EA51-DD5E53B2DF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1"/>
            <a:ext cx="11566164" cy="5052146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481044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3" r:id="rId1"/>
    <p:sldLayoutId id="2147485774" r:id="rId2"/>
    <p:sldLayoutId id="2147485775" r:id="rId3"/>
    <p:sldLayoutId id="2147485776" r:id="rId4"/>
    <p:sldLayoutId id="2147485777" r:id="rId5"/>
    <p:sldLayoutId id="2147483658" r:id="rId6"/>
    <p:sldLayoutId id="2147483660" r:id="rId7"/>
    <p:sldLayoutId id="2147483667" r:id="rId8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10761" indent="0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None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79816" indent="-158763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795578" indent="-124364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207479" indent="-157881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619380" indent="-157881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7772400" imgH="10058400" progId="TCLayout.ActiveDocument.1">
                  <p:embed/>
                </p:oleObj>
              </mc:Choice>
              <mc:Fallback>
                <p:oleObj name="think-cell Slide" r:id="rId38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06248-BB75-4E4A-BFE3-4A39C78CA8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0"/>
            <a:ext cx="11566164" cy="5177029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1806423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9" r:id="rId1"/>
    <p:sldLayoutId id="2147485760" r:id="rId2"/>
    <p:sldLayoutId id="2147485740" r:id="rId3"/>
    <p:sldLayoutId id="2147485742" r:id="rId4"/>
    <p:sldLayoutId id="2147485761" r:id="rId5"/>
    <p:sldLayoutId id="2147485728" r:id="rId6"/>
    <p:sldLayoutId id="2147485745" r:id="rId7"/>
    <p:sldLayoutId id="2147485747" r:id="rId8"/>
    <p:sldLayoutId id="2147485746" r:id="rId9"/>
    <p:sldLayoutId id="2147485748" r:id="rId10"/>
    <p:sldLayoutId id="2147485749" r:id="rId11"/>
    <p:sldLayoutId id="2147485755" r:id="rId12"/>
    <p:sldLayoutId id="2147485756" r:id="rId13"/>
    <p:sldLayoutId id="2147485738" r:id="rId14"/>
    <p:sldLayoutId id="2147485739" r:id="rId15"/>
    <p:sldLayoutId id="2147485726" r:id="rId16"/>
    <p:sldLayoutId id="2147485725" r:id="rId17"/>
    <p:sldLayoutId id="2147485727" r:id="rId18"/>
    <p:sldLayoutId id="2147485743" r:id="rId19"/>
    <p:sldLayoutId id="2147485729" r:id="rId20"/>
    <p:sldLayoutId id="2147485730" r:id="rId21"/>
    <p:sldLayoutId id="2147485731" r:id="rId22"/>
    <p:sldLayoutId id="2147485732" r:id="rId23"/>
    <p:sldLayoutId id="2147485733" r:id="rId24"/>
    <p:sldLayoutId id="2147485744" r:id="rId25"/>
    <p:sldLayoutId id="2147485735" r:id="rId26"/>
    <p:sldLayoutId id="2147485736" r:id="rId27"/>
    <p:sldLayoutId id="2147485750" r:id="rId28"/>
    <p:sldLayoutId id="2147485757" r:id="rId29"/>
    <p:sldLayoutId id="2147485741" r:id="rId30"/>
    <p:sldLayoutId id="2147485737" r:id="rId31"/>
    <p:sldLayoutId id="2147485751" r:id="rId32"/>
    <p:sldLayoutId id="2147485752" r:id="rId33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165113" indent="-152412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318408" indent="159645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766471" indent="-128774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116631" indent="-159645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428864" indent="-158763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F74C4-89B7-BBC7-AD26-BCF1162E8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7435" y="3429000"/>
            <a:ext cx="6455327" cy="1107440"/>
          </a:xfrm>
        </p:spPr>
        <p:txBody>
          <a:bodyPr/>
          <a:lstStyle/>
          <a:p>
            <a:pPr marL="0">
              <a:lnSpc>
                <a:spcPts val="4200"/>
              </a:lnSpc>
            </a:pPr>
            <a:r>
              <a:rPr lang="en-US" sz="4400" dirty="0"/>
              <a:t>Cyber Threat Assessment Program</a:t>
            </a:r>
            <a:br>
              <a:rPr lang="en-US" sz="4400" dirty="0"/>
            </a:br>
            <a:r>
              <a:rPr lang="en-US" sz="4400" dirty="0"/>
              <a:t>(CTAP)</a:t>
            </a:r>
          </a:p>
        </p:txBody>
      </p:sp>
    </p:spTree>
    <p:extLst>
      <p:ext uri="{BB962C8B-B14F-4D97-AF65-F5344CB8AC3E}">
        <p14:creationId xmlns:p14="http://schemas.microsoft.com/office/powerpoint/2010/main" val="30296980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29EF8AC-E968-E747-4960-2ED4889F685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US" dirty="0"/>
              <a:t>Why Us?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4E39FD6-C321-E180-3298-34B64B480D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074D99A-9FDE-91A7-AECD-0F9AB8080B5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2303286-FD4A-7284-84A8-F867B8F045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81B07DE-28B5-41A8-19B8-80F6F626427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en-US" dirty="0"/>
              <a:t>How It Work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6352D205-FD68-75D4-3674-208BA462D22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en-US" dirty="0"/>
              <a:t>Report Conten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10FEC7E-9019-7521-FF33-B476B541A43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0D219308-8BE6-DD11-FD3B-F34BCB242AF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35384CE-BEFC-B6BF-419B-13AC8596720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US" dirty="0"/>
              <a:t>What is CTAP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0011A99A-25A7-AC2E-FFBA-4A9A6F1BBB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/>
              <a:t>Benefit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3617F8B-0986-24E0-698D-1A751937D7E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8C01AB2-7702-B053-9348-DE05D5B057F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447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yber Threat Assessment Program</a:t>
            </a:r>
            <a:endParaRPr lang="en-US" dirty="0">
              <a:latin typeface="Roboto Condensed Light"/>
              <a:ea typeface="Roboto Condensed Light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954A78F2-344F-AE43-B539-3B40C1D67FDD}"/>
              </a:ext>
            </a:extLst>
          </p:cNvPr>
          <p:cNvSpPr txBox="1">
            <a:spLocks/>
          </p:cNvSpPr>
          <p:nvPr/>
        </p:nvSpPr>
        <p:spPr>
          <a:xfrm>
            <a:off x="3931558" y="3636875"/>
            <a:ext cx="2166808" cy="116303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No cost or risk to you or your customers 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F1630680-E6D6-5A45-98E9-22A010E0EFAC}"/>
              </a:ext>
            </a:extLst>
          </p:cNvPr>
          <p:cNvSpPr txBox="1">
            <a:spLocks/>
          </p:cNvSpPr>
          <p:nvPr/>
        </p:nvSpPr>
        <p:spPr>
          <a:xfrm>
            <a:off x="9415593" y="3636875"/>
            <a:ext cx="1861459" cy="130871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Done in a week or les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FAC6E021-C606-E343-8CE1-9552D246FC0C}"/>
              </a:ext>
            </a:extLst>
          </p:cNvPr>
          <p:cNvSpPr txBox="1">
            <a:spLocks/>
          </p:cNvSpPr>
          <p:nvPr/>
        </p:nvSpPr>
        <p:spPr>
          <a:xfrm>
            <a:off x="6440889" y="3636875"/>
            <a:ext cx="2634892" cy="116303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Requires</a:t>
            </a:r>
            <a:br>
              <a:rPr lang="en-US" dirty="0"/>
            </a:br>
            <a:r>
              <a:rPr lang="en-US" dirty="0"/>
              <a:t>less than</a:t>
            </a:r>
            <a:br>
              <a:rPr lang="en-US" dirty="0"/>
            </a:br>
            <a:r>
              <a:rPr lang="en-US" dirty="0"/>
              <a:t>30 minutes of customer time</a:t>
            </a:r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8EE0811D-03C5-5E4C-9350-DF11476948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2319" y="1746367"/>
            <a:ext cx="1830705" cy="1830705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34372EF6-F959-FD45-AD4B-B5B0C45189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2074" y="1598295"/>
            <a:ext cx="1830705" cy="1830705"/>
          </a:xfrm>
          <a:prstGeom prst="rect">
            <a:avLst/>
          </a:prstGeom>
        </p:spPr>
      </p:pic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1DA486D-CF55-C44A-A35B-8E84DCA2BD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7199" y="1949666"/>
            <a:ext cx="1889760" cy="1463040"/>
          </a:xfrm>
          <a:prstGeom prst="rect">
            <a:avLst/>
          </a:prstGeom>
        </p:spPr>
      </p:pic>
      <p:pic>
        <p:nvPicPr>
          <p:cNvPr id="11" name="Picture 10" descr="Logo, icon&#10;&#10;Description automatically generated">
            <a:extLst>
              <a:ext uri="{FF2B5EF4-FFF2-40B4-BE49-F238E27FC236}">
                <a16:creationId xmlns:a16="http://schemas.microsoft.com/office/drawing/2014/main" id="{924F0B02-E76E-CC40-B5C2-323B56E31D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3527" y="1785560"/>
            <a:ext cx="1830705" cy="1830705"/>
          </a:xfrm>
          <a:prstGeom prst="rect">
            <a:avLst/>
          </a:prstGeom>
        </p:spPr>
      </p:pic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40085009-ED5F-3C1A-109F-0AF1EF750869}"/>
              </a:ext>
            </a:extLst>
          </p:cNvPr>
          <p:cNvSpPr txBox="1">
            <a:spLocks/>
          </p:cNvSpPr>
          <p:nvPr/>
        </p:nvSpPr>
        <p:spPr>
          <a:xfrm>
            <a:off x="486048" y="3636875"/>
            <a:ext cx="2915023" cy="116303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Report on status of your security, productivity, and utilization</a:t>
            </a:r>
          </a:p>
        </p:txBody>
      </p:sp>
    </p:spTree>
    <p:extLst>
      <p:ext uri="{BB962C8B-B14F-4D97-AF65-F5344CB8AC3E}">
        <p14:creationId xmlns:p14="http://schemas.microsoft.com/office/powerpoint/2010/main" val="3875334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enefits</a:t>
            </a:r>
            <a:endParaRPr lang="en-US" dirty="0">
              <a:latin typeface="Roboto Condensed Light"/>
              <a:ea typeface="Roboto Condensed Light"/>
            </a:endParaRP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F426C53-147B-787A-5DCE-10AB78DBE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CAB718-3209-542B-CF15-6EAEA5EF15A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21538" y="1671091"/>
            <a:ext cx="4925524" cy="4002830"/>
          </a:xfrm>
        </p:spPr>
        <p:txBody>
          <a:bodyPr/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Get an in-depth view of the current state of your network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See if your current security infrastructure can accurately detect today’s sophisticated attack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See how apps (traditional and web-based) are truly being utilized on your network</a:t>
            </a:r>
          </a:p>
          <a:p>
            <a:pPr marL="228600" lvl="0" indent="-2286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See if your current security solution will be able to meet increased throughput and encryption demands</a:t>
            </a:r>
          </a:p>
        </p:txBody>
      </p:sp>
      <p:pic>
        <p:nvPicPr>
          <p:cNvPr id="5" name="Picture 4" descr="Graphical user interface, icon&#10;&#10;Description automatically generated">
            <a:extLst>
              <a:ext uri="{FF2B5EF4-FFF2-40B4-BE49-F238E27FC236}">
                <a16:creationId xmlns:a16="http://schemas.microsoft.com/office/drawing/2014/main" id="{30A23560-A4A2-3841-9E1B-B16C255316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845" y="1843706"/>
            <a:ext cx="51435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709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t works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3EC4F8DD-C115-3941-9E3C-E485A68333B9}"/>
              </a:ext>
            </a:extLst>
          </p:cNvPr>
          <p:cNvSpPr txBox="1">
            <a:spLocks/>
          </p:cNvSpPr>
          <p:nvPr/>
        </p:nvSpPr>
        <p:spPr>
          <a:xfrm>
            <a:off x="431425" y="3209995"/>
            <a:ext cx="2699158" cy="8102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/>
              <a:t>Install CTAP device at your site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7A3D25F3-6458-2A43-BA66-825CBFEE5225}"/>
              </a:ext>
            </a:extLst>
          </p:cNvPr>
          <p:cNvSpPr txBox="1">
            <a:spLocks/>
          </p:cNvSpPr>
          <p:nvPr/>
        </p:nvSpPr>
        <p:spPr>
          <a:xfrm>
            <a:off x="3503242" y="3209994"/>
            <a:ext cx="2699159" cy="124848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/>
              <a:t>Monitor traffic logs for 3 to 7 business days</a:t>
            </a:r>
          </a:p>
        </p:txBody>
      </p:sp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02A14F2-E178-8740-9093-2F4C8CB76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590" y="1021182"/>
            <a:ext cx="1984828" cy="1984828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1236D71D-6CA3-7545-A24C-C205B46736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4456" y="975946"/>
            <a:ext cx="1984827" cy="1984827"/>
          </a:xfrm>
          <a:prstGeom prst="rect">
            <a:avLst/>
          </a:prstGeom>
        </p:spPr>
      </p:pic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0FE55C8B-E8A6-4947-A808-CC8F97DF8E04}"/>
              </a:ext>
            </a:extLst>
          </p:cNvPr>
          <p:cNvSpPr txBox="1">
            <a:spLocks/>
          </p:cNvSpPr>
          <p:nvPr/>
        </p:nvSpPr>
        <p:spPr>
          <a:xfrm>
            <a:off x="6530200" y="3209995"/>
            <a:ext cx="2195956" cy="8102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/>
              <a:t>Generate report 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DDE1CD41-C8D2-2D4C-9381-F7219AD7388F}"/>
              </a:ext>
            </a:extLst>
          </p:cNvPr>
          <p:cNvSpPr txBox="1">
            <a:spLocks/>
          </p:cNvSpPr>
          <p:nvPr/>
        </p:nvSpPr>
        <p:spPr>
          <a:xfrm>
            <a:off x="9250564" y="3209995"/>
            <a:ext cx="2510011" cy="8102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/>
              <a:t>Discuss findings and retrieve CTAP device </a:t>
            </a:r>
          </a:p>
        </p:txBody>
      </p:sp>
      <p:pic>
        <p:nvPicPr>
          <p:cNvPr id="16" name="Picture 15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142A087-0DEC-D54A-8248-9B66F88FDF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5766" y="975947"/>
            <a:ext cx="1984825" cy="1984825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7DFAB1D4-63E1-0442-8ED9-EC78EA1E93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3156" y="1021185"/>
            <a:ext cx="1984825" cy="1984825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8806D-6902-BF35-B51C-2D6981F0190B}"/>
              </a:ext>
            </a:extLst>
          </p:cNvPr>
          <p:cNvSpPr txBox="1">
            <a:spLocks/>
          </p:cNvSpPr>
          <p:nvPr/>
        </p:nvSpPr>
        <p:spPr>
          <a:xfrm>
            <a:off x="0" y="4883686"/>
            <a:ext cx="12192000" cy="1974314"/>
          </a:xfrm>
          <a:prstGeom prst="rect">
            <a:avLst/>
          </a:prstGeom>
          <a:solidFill>
            <a:srgbClr val="007AC3"/>
          </a:solidFill>
        </p:spPr>
        <p:txBody>
          <a:bodyPr tIns="0" bIns="0" anchor="ctr"/>
          <a:lstStyle>
            <a:lvl1pPr marL="12701" indent="0" algn="ctr" defTabSz="91447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18408" indent="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766471" indent="-128774" algn="l" defTabSz="203216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16631" indent="-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28864" indent="-158763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80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38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74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1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E3FDA6A-EE4C-E628-5FCC-13FAA2FCBB0A}"/>
              </a:ext>
            </a:extLst>
          </p:cNvPr>
          <p:cNvSpPr txBox="1">
            <a:spLocks/>
          </p:cNvSpPr>
          <p:nvPr/>
        </p:nvSpPr>
        <p:spPr>
          <a:xfrm>
            <a:off x="0" y="4738172"/>
            <a:ext cx="12192000" cy="291028"/>
          </a:xfrm>
          <a:prstGeom prst="rect">
            <a:avLst/>
          </a:prstGeom>
          <a:solidFill>
            <a:srgbClr val="6FC055"/>
          </a:solidFill>
        </p:spPr>
        <p:txBody>
          <a:bodyPr tIns="0" bIns="0" anchor="ctr"/>
          <a:lstStyle>
            <a:lvl1pPr marL="12701" indent="0" algn="ctr" defTabSz="91447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Oswald" pitchFamily="2" charset="0"/>
                <a:ea typeface="+mn-ea"/>
                <a:cs typeface="Arial" panose="020B0604020202020204" pitchFamily="34" charset="0"/>
              </a:defRPr>
            </a:lvl1pPr>
            <a:lvl2pPr marL="318408" indent="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766471" indent="-128774" algn="l" defTabSz="203216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16631" indent="-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28864" indent="-158763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80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38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74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1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709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899593E2-5436-2B43-A41A-908C8F7784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4235" y="3458405"/>
            <a:ext cx="1488440" cy="148844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4796013" cy="1107440"/>
          </a:xfrm>
        </p:spPr>
        <p:txBody>
          <a:bodyPr>
            <a:normAutofit/>
          </a:bodyPr>
          <a:lstStyle/>
          <a:p>
            <a:r>
              <a:rPr lang="en-US" dirty="0"/>
              <a:t>Why our CTAP?</a:t>
            </a:r>
            <a:endParaRPr lang="en-US" dirty="0">
              <a:latin typeface="Roboto Condensed Light"/>
              <a:ea typeface="Roboto Condensed Light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>
          <a:xfrm>
            <a:off x="568236" y="2279937"/>
            <a:ext cx="2252869" cy="1107440"/>
          </a:xfrm>
        </p:spPr>
        <p:txBody>
          <a:bodyPr>
            <a:noAutofit/>
          </a:bodyPr>
          <a:lstStyle/>
          <a:p>
            <a:pPr marL="0" indent="0" algn="ctr">
              <a:lnSpc>
                <a:spcPts val="2600"/>
              </a:lnSpc>
              <a:buNone/>
            </a:pPr>
            <a:r>
              <a:rPr lang="en-US" sz="2400" dirty="0"/>
              <a:t>Superior visibility</a:t>
            </a:r>
            <a:r>
              <a:rPr lang="en-US" sz="2400" baseline="30000" dirty="0"/>
              <a:t>*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51E68231-2949-B447-9677-299F083A3CB3}"/>
              </a:ext>
            </a:extLst>
          </p:cNvPr>
          <p:cNvSpPr txBox="1">
            <a:spLocks/>
          </p:cNvSpPr>
          <p:nvPr/>
        </p:nvSpPr>
        <p:spPr>
          <a:xfrm>
            <a:off x="3494129" y="5017873"/>
            <a:ext cx="2055707" cy="6596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Insights from</a:t>
            </a:r>
            <a:br>
              <a:rPr lang="en-US" dirty="0"/>
            </a:br>
            <a:r>
              <a:rPr lang="en-US" dirty="0"/>
              <a:t>expert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13E3A48-FB5C-9147-A9C2-A625D067CBDD}"/>
              </a:ext>
            </a:extLst>
          </p:cNvPr>
          <p:cNvSpPr txBox="1">
            <a:spLocks/>
          </p:cNvSpPr>
          <p:nvPr/>
        </p:nvSpPr>
        <p:spPr>
          <a:xfrm>
            <a:off x="3044931" y="2402828"/>
            <a:ext cx="2899517" cy="98454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Additional insights &amp; opportunity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0917DCB4-B796-614C-9E3F-0D269CEA3837}"/>
              </a:ext>
            </a:extLst>
          </p:cNvPr>
          <p:cNvSpPr txBox="1">
            <a:spLocks/>
          </p:cNvSpPr>
          <p:nvPr/>
        </p:nvSpPr>
        <p:spPr>
          <a:xfrm>
            <a:off x="5927165" y="2402828"/>
            <a:ext cx="2252869" cy="98454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Deployment flexibility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13DA79B3-35F9-CB47-9707-04DF06A2F60B}"/>
              </a:ext>
            </a:extLst>
          </p:cNvPr>
          <p:cNvSpPr txBox="1">
            <a:spLocks/>
          </p:cNvSpPr>
          <p:nvPr/>
        </p:nvSpPr>
        <p:spPr>
          <a:xfrm>
            <a:off x="143611" y="5024433"/>
            <a:ext cx="3268877" cy="87652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Actionable</a:t>
            </a:r>
            <a:br>
              <a:rPr lang="en-US" dirty="0"/>
            </a:br>
            <a:r>
              <a:rPr lang="en-US" dirty="0"/>
              <a:t>recommendation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E9DD0D92-CBB8-9941-A2C1-0AD9926AE81D}"/>
              </a:ext>
            </a:extLst>
          </p:cNvPr>
          <p:cNvSpPr txBox="1">
            <a:spLocks/>
          </p:cNvSpPr>
          <p:nvPr/>
        </p:nvSpPr>
        <p:spPr>
          <a:xfrm>
            <a:off x="5475679" y="5026397"/>
            <a:ext cx="3589127" cy="59848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Personal &amp;</a:t>
            </a:r>
            <a:br>
              <a:rPr lang="en-US" dirty="0"/>
            </a:br>
            <a:r>
              <a:rPr lang="en-US" dirty="0"/>
              <a:t>courteous approach</a:t>
            </a:r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E3EA3796-0559-A04D-B018-CD7DCD79FD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671" y="1038080"/>
            <a:ext cx="1653540" cy="1653540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1F9858E9-72F7-AB40-8C0B-AD88A8EDD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7920" y="852380"/>
            <a:ext cx="1653540" cy="1653540"/>
          </a:xfrm>
          <a:prstGeom prst="rect">
            <a:avLst/>
          </a:prstGeom>
        </p:spPr>
      </p:pic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35AF990D-E38D-9644-B6E9-9C6D924DA7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5202" y="866926"/>
            <a:ext cx="1653540" cy="1653540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019BBC43-5DAB-5D42-846A-5D6FE6D92C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4173" y="3530696"/>
            <a:ext cx="1535430" cy="1535430"/>
          </a:xfrm>
          <a:prstGeom prst="rect">
            <a:avLst/>
          </a:prstGeom>
        </p:spPr>
      </p:pic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C696FD0B-46C7-714F-A58E-878DD6999A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2367" y="3413074"/>
            <a:ext cx="1452753" cy="145275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B326B54-3C9B-4C4C-9F81-FE70167B4BAD}"/>
              </a:ext>
            </a:extLst>
          </p:cNvPr>
          <p:cNvSpPr txBox="1"/>
          <p:nvPr/>
        </p:nvSpPr>
        <p:spPr>
          <a:xfrm>
            <a:off x="487420" y="6056623"/>
            <a:ext cx="811004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dirty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* powered by content security and threat intelligence from FortiGuard Lab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AE16EDB-30AB-8821-17BD-7C3B4FF1736C}"/>
              </a:ext>
            </a:extLst>
          </p:cNvPr>
          <p:cNvSpPr txBox="1">
            <a:spLocks/>
          </p:cNvSpPr>
          <p:nvPr/>
        </p:nvSpPr>
        <p:spPr>
          <a:xfrm>
            <a:off x="10136293" y="5839"/>
            <a:ext cx="2055707" cy="6858000"/>
          </a:xfrm>
          <a:prstGeom prst="rect">
            <a:avLst/>
          </a:prstGeom>
          <a:solidFill>
            <a:srgbClr val="007AC3"/>
          </a:solidFill>
        </p:spPr>
        <p:txBody>
          <a:bodyPr tIns="0" bIns="0" anchor="ctr"/>
          <a:lstStyle>
            <a:lvl1pPr marL="165113" indent="-152412" algn="ctr" defTabSz="91447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Oswald" pitchFamily="2" charset="0"/>
                <a:ea typeface="+mn-ea"/>
                <a:cs typeface="Arial" panose="020B0604020202020204" pitchFamily="34" charset="0"/>
              </a:defRPr>
            </a:lvl1pPr>
            <a:lvl2pPr marL="318408" indent="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766471" indent="-128774" algn="l" defTabSz="203216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16631" indent="-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28864" indent="-158763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80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38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74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1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E29B37A-497C-3242-9EF2-8478F1721C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6509" y="1331131"/>
            <a:ext cx="4141998" cy="414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381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DC0682-095D-A240-BD54-7C2E730BA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cur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336ACD6-C044-144D-BEB1-B28198FEA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6" y="894697"/>
            <a:ext cx="3778418" cy="303617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400" dirty="0"/>
              <a:t>Can your security posture be improved?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Application vulnerabilitie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Malware/botnet detection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Identify risky applic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2B9092-6477-A24E-9FF5-4732188DEA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2815" y="1145682"/>
            <a:ext cx="8179079" cy="486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57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DC0682-095D-A240-BD54-7C2E730BA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ductiv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336ACD6-C044-144D-BEB1-B28198FEA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7" y="894697"/>
            <a:ext cx="4285828" cy="43515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Are you making the best use of your network resources?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Application categories and cloud usage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Peer to peer, proxy app and remote acces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Web-based applications and browsing habi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98CD9E-A696-4ED8-A5E2-A08C17C67A2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230306" y="579990"/>
            <a:ext cx="6423706" cy="31937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0" name="Picture 9" descr="Chart&#10;&#10;Description automatically generated">
            <a:extLst>
              <a:ext uri="{FF2B5EF4-FFF2-40B4-BE49-F238E27FC236}">
                <a16:creationId xmlns:a16="http://schemas.microsoft.com/office/drawing/2014/main" id="{6AA0B267-3392-4244-9327-0ACECAAF24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0117" y="3924745"/>
            <a:ext cx="3580224" cy="223764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1" name="Picture 10" descr="Chart&#10;&#10;Description automatically generated with low confidence">
            <a:extLst>
              <a:ext uri="{FF2B5EF4-FFF2-40B4-BE49-F238E27FC236}">
                <a16:creationId xmlns:a16="http://schemas.microsoft.com/office/drawing/2014/main" id="{CCBC8BB4-80CC-4A4F-81E6-093DB5CAE2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5090" y="3924745"/>
            <a:ext cx="3580224" cy="223764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09440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DC0682-095D-A240-BD54-7C2E730BA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tiliz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336ACD6-C044-144D-BEB1-B28198FEA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6" y="1178477"/>
            <a:ext cx="4377508" cy="43515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uld your productivity be improved with some changes?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Bandwidth analysis and top consumer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Sizing information — average log rates/session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FortiGate CPU and memory utiliz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3216697-F445-4DAB-87D7-FA1DBB95B31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785693" y="656315"/>
            <a:ext cx="6675831" cy="124035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48C1310-77DB-4733-A644-DC6FBF5634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5692" y="2085955"/>
            <a:ext cx="6061023" cy="26415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7E5A6E1-09A0-45DE-944E-4A0744C333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5284" y="3523609"/>
            <a:ext cx="5586240" cy="26060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6289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TPX" val="G1AxbYE2"/>
  <p:tag name="ARTICULATE_DESIGN_ID_OFFICE THEME" val="aqoCmktk"/>
  <p:tag name="ARTICULATE_DESIGN_ID_MITEL POWERPOINT TEMPLATE (1)" val="WSGO6eCM"/>
  <p:tag name="ARTICULATE_DESIGN_ID_1_TPX" val="YhXcFerQ"/>
  <p:tag name="ARTICULATE_DESIGN_ID_THE EXP THEME" val="TOyimgr4"/>
  <p:tag name="ARTICULATE_DESIGN_ID_THEMED MARKETING LAYOUTS" val="WZ5vy4Gi"/>
  <p:tag name="ARTICULATE_DESIGN_ID_CUSTOM DESIGN" val="PgskQRO1"/>
  <p:tag name="ARTICULATE_DESIGN_ID_1_THE EXP THEME" val="H2uG2EEr"/>
  <p:tag name="ARTICULATE_DESIGN_ID_INTERACTION SLIDES" val="hOaaQKaR"/>
  <p:tag name="ARTICULATE_SLIDE_THUMBNAIL_REFRESH" val="1"/>
  <p:tag name="ARTICULATE_PROJECT_OPEN" val="0"/>
  <p:tag name="ARTICULATE_SLIDE_COUNT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Cover Slide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6D5E0"/>
      </a:lt2>
      <a:accent1>
        <a:srgbClr val="007AC2"/>
      </a:accent1>
      <a:accent2>
        <a:srgbClr val="03A0DB"/>
      </a:accent2>
      <a:accent3>
        <a:srgbClr val="21BFD3"/>
      </a:accent3>
      <a:accent4>
        <a:srgbClr val="045E94"/>
      </a:accent4>
      <a:accent5>
        <a:srgbClr val="6FBD59"/>
      </a:accent5>
      <a:accent6>
        <a:srgbClr val="A9D171"/>
      </a:accent6>
      <a:hlink>
        <a:srgbClr val="007BBF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2.xml><?xml version="1.0" encoding="utf-8"?>
<a:theme xmlns:a="http://schemas.openxmlformats.org/drawingml/2006/main" name="Agenda / Table of Content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6D5E0"/>
      </a:lt2>
      <a:accent1>
        <a:srgbClr val="007AC2"/>
      </a:accent1>
      <a:accent2>
        <a:srgbClr val="03A0DB"/>
      </a:accent2>
      <a:accent3>
        <a:srgbClr val="21BFD3"/>
      </a:accent3>
      <a:accent4>
        <a:srgbClr val="045E94"/>
      </a:accent4>
      <a:accent5>
        <a:srgbClr val="6FBD59"/>
      </a:accent5>
      <a:accent6>
        <a:srgbClr val="A9D171"/>
      </a:accent6>
      <a:hlink>
        <a:srgbClr val="007BBF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3.xml><?xml version="1.0" encoding="utf-8"?>
<a:theme xmlns:a="http://schemas.openxmlformats.org/drawingml/2006/main" name="Section Dividers">
  <a:themeElements>
    <a:clrScheme name="TPx Brand 1">
      <a:dk1>
        <a:sysClr val="windowText" lastClr="000000"/>
      </a:dk1>
      <a:lt1>
        <a:sysClr val="window" lastClr="FFFFFF"/>
      </a:lt1>
      <a:dk2>
        <a:srgbClr val="454551"/>
      </a:dk2>
      <a:lt2>
        <a:srgbClr val="E5F5FF"/>
      </a:lt2>
      <a:accent1>
        <a:srgbClr val="008EE6"/>
      </a:accent1>
      <a:accent2>
        <a:srgbClr val="007AC3"/>
      </a:accent2>
      <a:accent3>
        <a:srgbClr val="4FC777"/>
      </a:accent3>
      <a:accent4>
        <a:srgbClr val="6FC055"/>
      </a:accent4>
      <a:accent5>
        <a:srgbClr val="CA2065"/>
      </a:accent5>
      <a:accent6>
        <a:srgbClr val="96184A"/>
      </a:accent6>
      <a:hlink>
        <a:srgbClr val="08B892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4.xml><?xml version="1.0" encoding="utf-8"?>
<a:theme xmlns:a="http://schemas.openxmlformats.org/drawingml/2006/main" name="Interior Slide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6D5E0"/>
      </a:lt2>
      <a:accent1>
        <a:srgbClr val="007AC2"/>
      </a:accent1>
      <a:accent2>
        <a:srgbClr val="03A0DB"/>
      </a:accent2>
      <a:accent3>
        <a:srgbClr val="21BFD3"/>
      </a:accent3>
      <a:accent4>
        <a:srgbClr val="045E94"/>
      </a:accent4>
      <a:accent5>
        <a:srgbClr val="6FBD59"/>
      </a:accent5>
      <a:accent6>
        <a:srgbClr val="A9D171"/>
      </a:accent6>
      <a:hlink>
        <a:srgbClr val="007BBF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86FF442-84E4-42B8-832A-5DBE4CAB1DEC}">
  <we:reference id="wa104379997" version="2.0.0.0" store="en-001" storeType="OMEX"/>
  <we:alternateReferences>
    <we:reference id="WA104379997" version="2.0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cf76f155ced4ddcb4097134ff3c332f xmlns="1af5a47c-0713-4e3a-a2b6-24346aceb14c">
      <Terms xmlns="http://schemas.microsoft.com/office/infopath/2007/PartnerControls"/>
    </lcf76f155ced4ddcb4097134ff3c332f>
    <TaxCatchAll xmlns="faf47a63-e848-4293-897f-92283a34d03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ales and Marketing Document" ma:contentTypeID="0x010100E0A203F60024FB4CAD43CD2967EC1C06007B986BF4DC3D424C94B1AF54B15BD4D4" ma:contentTypeVersion="232" ma:contentTypeDescription="" ma:contentTypeScope="" ma:versionID="2c02897bc2a75ed320dd0a871bb18925">
  <xsd:schema xmlns:xsd="http://www.w3.org/2001/XMLSchema" xmlns:xs="http://www.w3.org/2001/XMLSchema" xmlns:p="http://schemas.microsoft.com/office/2006/metadata/properties" xmlns:ns2="faf47a63-e848-4293-897f-92283a34d037" targetNamespace="http://schemas.microsoft.com/office/2006/metadata/properties" ma:root="true" ma:fieldsID="5f1b2fdfc7a7c95d3fb4d817719ad0ab" ns2:_="">
    <xsd:import namespace="faf47a63-e848-4293-897f-92283a34d037"/>
    <xsd:element name="properties">
      <xsd:complexType>
        <xsd:sequence>
          <xsd:element name="documentManagement">
            <xsd:complexType>
              <xsd:all>
                <xsd:element ref="ns2:Document_x0020_Description" minOccurs="0"/>
                <xsd:element ref="ns2:b8752bdbf66e41319cd0f0527834114a" minOccurs="0"/>
                <xsd:element ref="ns2:TaxCatchAll" minOccurs="0"/>
                <xsd:element ref="ns2:TaxCatchAllLabel" minOccurs="0"/>
                <xsd:element ref="ns2:mc055ecbc3b04651aecc7ec8424fae2e" minOccurs="0"/>
                <xsd:element ref="ns2:k1c10af3b2fe43169195987bd514e84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f47a63-e848-4293-897f-92283a34d037" elementFormDefault="qualified">
    <xsd:import namespace="http://schemas.microsoft.com/office/2006/documentManagement/types"/>
    <xsd:import namespace="http://schemas.microsoft.com/office/infopath/2007/PartnerControls"/>
    <xsd:element name="Document_x0020_Description" ma:index="5" nillable="true" ma:displayName="Document Description" ma:internalName="Document_x0020_Description">
      <xsd:simpleType>
        <xsd:restriction base="dms:Note"/>
      </xsd:simpleType>
    </xsd:element>
    <xsd:element name="b8752bdbf66e41319cd0f0527834114a" ma:index="6" nillable="true" ma:taxonomy="true" ma:internalName="b8752bdbf66e41319cd0f0527834114a" ma:taxonomyFieldName="Service1" ma:displayName="Service" ma:default="" ma:fieldId="{b8752bdb-f66e-4131-9cd0-f0527834114a}" ma:taxonomyMulti="true" ma:sspId="cbc9f59a-f8c8-4df8-bfaf-beb0fa068b59" ma:termSetId="7bd645e8-449d-4ba5-999e-4bfd8c3c09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7" nillable="true" ma:displayName="Taxonomy Catch All Column" ma:hidden="true" ma:list="{fdc5cadc-86e1-440e-ba48-a9f70c8eaa73}" ma:internalName="TaxCatchAll" ma:showField="CatchAllData" ma:web="2944dd6e-d67c-4bb2-9bae-730981de87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8" nillable="true" ma:displayName="Taxonomy Catch All Column1" ma:hidden="true" ma:list="{fdc5cadc-86e1-440e-ba48-a9f70c8eaa73}" ma:internalName="TaxCatchAllLabel" ma:readOnly="true" ma:showField="CatchAllDataLabel" ma:web="2944dd6e-d67c-4bb2-9bae-730981de87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c055ecbc3b04651aecc7ec8424fae2e" ma:index="12" nillable="true" ma:taxonomy="true" ma:internalName="mc055ecbc3b04651aecc7ec8424fae2e" ma:taxonomyFieldName="Channel" ma:displayName="Channel" ma:default="" ma:fieldId="{6c055ecb-c3b0-4651-aecc-7ec8424fae2e}" ma:taxonomyMulti="true" ma:sspId="cbc9f59a-f8c8-4df8-bfaf-beb0fa068b59" ma:termSetId="10453775-e67d-4dbe-ac3f-3633847e2ea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1c10af3b2fe43169195987bd514e84d" ma:index="15" nillable="true" ma:taxonomy="true" ma:internalName="k1c10af3b2fe43169195987bd514e84d" ma:taxonomyFieldName="Document_x0020_Type" ma:displayName="Document Type" ma:default="" ma:fieldId="{41c10af3-b2fe-4316-9195-987bd514e84d}" ma:sspId="cbc9f59a-f8c8-4df8-bfaf-beb0fa068b59" ma:termSetId="af04c184-9060-40ae-b702-ba358104213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PolicyDirtyBag xmlns="microsoft.office.server.policy.changes">
  <Microsoft.Office.RecordsManagement.PolicyFeatures.PolicyAudit op="Delete"/>
</PolicyDirtyBag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005DC0A26A6D409DD06258794F8C97" ma:contentTypeVersion="18" ma:contentTypeDescription="Create a new document." ma:contentTypeScope="" ma:versionID="c90f7fa22e948da5767a033261e78eb3">
  <xsd:schema xmlns:xsd="http://www.w3.org/2001/XMLSchema" xmlns:xs="http://www.w3.org/2001/XMLSchema" xmlns:p="http://schemas.microsoft.com/office/2006/metadata/properties" xmlns:ns1="http://schemas.microsoft.com/sharepoint/v3" xmlns:ns2="1af5a47c-0713-4e3a-a2b6-24346aceb14c" xmlns:ns3="48890d66-84ea-42c4-81cd-054a79595e7a" xmlns:ns4="faf47a63-e848-4293-897f-92283a34d037" targetNamespace="http://schemas.microsoft.com/office/2006/metadata/properties" ma:root="true" ma:fieldsID="57c01980da1e77fc7496c53d81e3f5d2" ns1:_="" ns2:_="" ns3:_="" ns4:_="">
    <xsd:import namespace="http://schemas.microsoft.com/sharepoint/v3"/>
    <xsd:import namespace="1af5a47c-0713-4e3a-a2b6-24346aceb14c"/>
    <xsd:import namespace="48890d66-84ea-42c4-81cd-054a79595e7a"/>
    <xsd:import namespace="faf47a63-e848-4293-897f-92283a34d0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f5a47c-0713-4e3a-a2b6-24346aceb1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bc9f59a-f8c8-4df8-bfaf-beb0fa068b5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90d66-84ea-42c4-81cd-054a79595e7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f47a63-e848-4293-897f-92283a34d037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39b2d8a3-5fc0-47bb-996c-832e9bfa6b68}" ma:internalName="TaxCatchAll" ma:showField="CatchAllData" ma:web="48890d66-84ea-42c4-81cd-054a79595e7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D37507-E7D6-44CF-8184-D1E05A9DFA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101353-B90F-4B83-B7BE-3C869D945E05}">
  <ds:schemaRefs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faf47a63-e848-4293-897f-92283a34d037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2953D33-CE88-4016-90F6-07572BCA3B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f47a63-e848-4293-897f-92283a34d0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E851CAF-91C0-4BA1-89E7-F54DC8F41704}">
  <ds:schemaRefs>
    <ds:schemaRef ds:uri="microsoft.office.server.policy.changes"/>
  </ds:schemaRefs>
</ds:datastoreItem>
</file>

<file path=customXml/itemProps5.xml><?xml version="1.0" encoding="utf-8"?>
<ds:datastoreItem xmlns:ds="http://schemas.openxmlformats.org/officeDocument/2006/customXml" ds:itemID="{860FA0A3-5A41-4D15-875F-623DD07B4D7E}"/>
</file>

<file path=docMetadata/LabelInfo.xml><?xml version="1.0" encoding="utf-8"?>
<clbl:labelList xmlns:clbl="http://schemas.microsoft.com/office/2020/mipLabelMetadata">
  <clbl:label id="{999ee356-f756-4ae0-a94c-7d9428c681ea}" enabled="1" method="Standard" siteId="{2565b39e-8061-4c29-983e-8fea64680474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639</TotalTime>
  <Words>270</Words>
  <Application>Microsoft Office PowerPoint</Application>
  <PresentationFormat>Widescreen</PresentationFormat>
  <Paragraphs>56</Paragraphs>
  <Slides>9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Cover Slides</vt:lpstr>
      <vt:lpstr>Agenda / Table of Contents</vt:lpstr>
      <vt:lpstr>Section Dividers</vt:lpstr>
      <vt:lpstr>Interior Slides</vt:lpstr>
      <vt:lpstr>Cyber Threat Assessment Program (CTAP)</vt:lpstr>
      <vt:lpstr>Agenda</vt:lpstr>
      <vt:lpstr>Cyber Threat Assessment Program</vt:lpstr>
      <vt:lpstr>Benefits</vt:lpstr>
      <vt:lpstr>How it works</vt:lpstr>
      <vt:lpstr>Why our CTAP?</vt:lpstr>
      <vt:lpstr>Security</vt:lpstr>
      <vt:lpstr>Productivity</vt:lpstr>
      <vt:lpstr>Utiliz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TAP customer presentation</dc:title>
  <dc:creator>Michael Lambert;David Wald</dc:creator>
  <cp:lastModifiedBy>Lucie Hys</cp:lastModifiedBy>
  <cp:revision>118</cp:revision>
  <dcterms:created xsi:type="dcterms:W3CDTF">2021-03-09T15:06:16Z</dcterms:created>
  <dcterms:modified xsi:type="dcterms:W3CDTF">2023-04-21T16:3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C1C5AB2C-2225-4B87-8DEC-92011847F696</vt:lpwstr>
  </property>
  <property fmtid="{D5CDD505-2E9C-101B-9397-08002B2CF9AE}" pid="3" name="ArticulatePath">
    <vt:lpwstr>TPxpert Methodology For CD Update R4(3)</vt:lpwstr>
  </property>
  <property fmtid="{D5CDD505-2E9C-101B-9397-08002B2CF9AE}" pid="4" name="ContentTypeId">
    <vt:lpwstr>0x01010071005DC0A26A6D409DD06258794F8C97</vt:lpwstr>
  </property>
  <property fmtid="{D5CDD505-2E9C-101B-9397-08002B2CF9AE}" pid="5" name="MediaServiceImageTags">
    <vt:lpwstr/>
  </property>
  <property fmtid="{D5CDD505-2E9C-101B-9397-08002B2CF9AE}" pid="6" name="lcf76f155ced4ddcb4097134ff3c332f">
    <vt:lpwstr/>
  </property>
  <property fmtid="{D5CDD505-2E9C-101B-9397-08002B2CF9AE}" pid="7" name="Service1">
    <vt:lpwstr/>
  </property>
  <property fmtid="{D5CDD505-2E9C-101B-9397-08002B2CF9AE}" pid="8" name="Document Type">
    <vt:lpwstr/>
  </property>
  <property fmtid="{D5CDD505-2E9C-101B-9397-08002B2CF9AE}" pid="9" name="Channel">
    <vt:lpwstr/>
  </property>
</Properties>
</file>